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3660" r:id="rId2"/>
    <p:sldMasterId id="2147483648" r:id="rId3"/>
  </p:sldMasterIdLst>
  <p:notesMasterIdLst>
    <p:notesMasterId r:id="rId36"/>
  </p:notesMasterIdLst>
  <p:sldIdLst>
    <p:sldId id="256" r:id="rId4"/>
    <p:sldId id="257" r:id="rId5"/>
    <p:sldId id="259" r:id="rId6"/>
    <p:sldId id="261" r:id="rId7"/>
    <p:sldId id="262" r:id="rId8"/>
    <p:sldId id="263" r:id="rId9"/>
    <p:sldId id="264" r:id="rId10"/>
    <p:sldId id="265" r:id="rId11"/>
    <p:sldId id="266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iểu Trung bình 2 - Màu chủ đề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 snapToGrid="0">
      <p:cViewPr>
        <p:scale>
          <a:sx n="69" d="100"/>
          <a:sy n="69" d="100"/>
        </p:scale>
        <p:origin x="780" y="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Đầu trang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Chỗ dành sẵn cho Ngày tháng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DA9A45-133D-4E55-9DE0-D805F9DFDAA9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4" name="Chỗ dành sẵn cho Hình ảnh của Bản chiế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Chỗ dành sẵn cho Ghi chú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6" name="Chỗ dành sẵn cho Chân trang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Chỗ dành sẵn cho Số hiệu Bản chiế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6E6F01-6A14-44A1-A9A9-8DCCB4A65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510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6501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 err="1"/>
              <a:t>Cận</a:t>
            </a:r>
            <a:r>
              <a:rPr lang="vi-VN" dirty="0"/>
              <a:t> lâm </a:t>
            </a:r>
            <a:r>
              <a:rPr lang="vi-VN" dirty="0" err="1"/>
              <a:t>sàng</a:t>
            </a:r>
            <a:r>
              <a:rPr lang="vi-VN" dirty="0"/>
              <a:t> </a:t>
            </a:r>
            <a:r>
              <a:rPr lang="vi-VN" dirty="0" err="1"/>
              <a:t>đầu</a:t>
            </a:r>
            <a:r>
              <a:rPr lang="vi-VN" dirty="0"/>
              <a:t> tay khi nghi </a:t>
            </a:r>
            <a:r>
              <a:rPr lang="vi-VN" dirty="0" err="1"/>
              <a:t>ngờ</a:t>
            </a:r>
            <a:r>
              <a:rPr lang="vi-VN" dirty="0"/>
              <a:t> u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siêu âm </a:t>
            </a:r>
            <a:r>
              <a:rPr lang="vi-VN" dirty="0" err="1"/>
              <a:t>bụng</a:t>
            </a:r>
            <a:r>
              <a:rPr lang="vi-VN" dirty="0"/>
              <a:t> </a:t>
            </a:r>
            <a:r>
              <a:rPr lang="vi-VN" dirty="0" err="1"/>
              <a:t>tính</a:t>
            </a:r>
            <a:r>
              <a:rPr lang="vi-VN" dirty="0"/>
              <a:t> </a:t>
            </a:r>
            <a:r>
              <a:rPr lang="vi-VN" dirty="0" err="1"/>
              <a:t>sẵn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dễ</a:t>
            </a:r>
            <a:r>
              <a:rPr lang="vi-VN" dirty="0"/>
              <a:t> </a:t>
            </a:r>
            <a:r>
              <a:rPr lang="vi-VN" dirty="0" err="1"/>
              <a:t>thực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, tuy nhiên </a:t>
            </a: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trong </a:t>
            </a:r>
            <a:r>
              <a:rPr lang="vi-VN" dirty="0" err="1"/>
              <a:t>trực</a:t>
            </a:r>
            <a:r>
              <a:rPr lang="vi-VN" dirty="0"/>
              <a:t> </a:t>
            </a:r>
            <a:r>
              <a:rPr lang="vi-VN" dirty="0" err="1"/>
              <a:t>tiếp</a:t>
            </a:r>
            <a:r>
              <a:rPr lang="vi-VN" dirty="0"/>
              <a:t> </a:t>
            </a:r>
            <a:r>
              <a:rPr lang="vi-VN" dirty="0" err="1"/>
              <a:t>nhìn</a:t>
            </a:r>
            <a:r>
              <a:rPr lang="vi-VN" dirty="0"/>
              <a:t> </a:t>
            </a:r>
            <a:r>
              <a:rPr lang="vi-VN" dirty="0" err="1"/>
              <a:t>thấy</a:t>
            </a:r>
            <a:r>
              <a:rPr lang="vi-VN" dirty="0"/>
              <a:t> u không cao, </a:t>
            </a: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cao hơn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u </a:t>
            </a:r>
            <a:r>
              <a:rPr lang="vi-VN" dirty="0" err="1"/>
              <a:t>lớn</a:t>
            </a:r>
            <a:r>
              <a:rPr lang="vi-VN" dirty="0"/>
              <a:t>. </a:t>
            </a:r>
            <a:r>
              <a:rPr lang="vi-VN" dirty="0" err="1"/>
              <a:t>Ngoài</a:t>
            </a:r>
            <a:r>
              <a:rPr lang="vi-VN" dirty="0"/>
              <a:t> ra SA âm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</a:t>
            </a:r>
            <a:r>
              <a:rPr lang="vi-VN" dirty="0" err="1"/>
              <a:t>thấy</a:t>
            </a:r>
            <a:r>
              <a:rPr lang="vi-VN" dirty="0"/>
              <a:t> </a:t>
            </a:r>
            <a:r>
              <a:rPr lang="vi-VN" dirty="0" err="1"/>
              <a:t>dấu</a:t>
            </a:r>
            <a:r>
              <a:rPr lang="vi-VN" dirty="0"/>
              <a:t> </a:t>
            </a:r>
            <a:r>
              <a:rPr lang="vi-VN" dirty="0" err="1"/>
              <a:t>hiệu</a:t>
            </a:r>
            <a:r>
              <a:rPr lang="vi-VN" dirty="0"/>
              <a:t> </a:t>
            </a:r>
            <a:r>
              <a:rPr lang="vi-VN" dirty="0" err="1"/>
              <a:t>gián</a:t>
            </a:r>
            <a:r>
              <a:rPr lang="vi-VN" dirty="0"/>
              <a:t> </a:t>
            </a:r>
            <a:r>
              <a:rPr lang="vi-VN" dirty="0" err="1"/>
              <a:t>tiếp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u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giãn</a:t>
            </a:r>
            <a:r>
              <a:rPr lang="vi-VN" dirty="0"/>
              <a:t>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trong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ngoài</a:t>
            </a:r>
            <a:r>
              <a:rPr lang="vi-VN" dirty="0"/>
              <a:t> gan. Khi nghi </a:t>
            </a:r>
            <a:r>
              <a:rPr lang="vi-VN" dirty="0" err="1"/>
              <a:t>ngờ</a:t>
            </a:r>
            <a:r>
              <a:rPr lang="vi-VN" dirty="0"/>
              <a:t> u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, </a:t>
            </a:r>
            <a:r>
              <a:rPr lang="vi-VN" dirty="0" err="1"/>
              <a:t>dù</a:t>
            </a:r>
            <a:r>
              <a:rPr lang="vi-VN" dirty="0"/>
              <a:t> </a:t>
            </a:r>
            <a:r>
              <a:rPr lang="vi-VN" dirty="0" err="1"/>
              <a:t>kết</a:t>
            </a:r>
            <a:r>
              <a:rPr lang="vi-VN" dirty="0"/>
              <a:t> </a:t>
            </a:r>
            <a:r>
              <a:rPr lang="vi-VN" dirty="0" err="1"/>
              <a:t>quả</a:t>
            </a:r>
            <a:r>
              <a:rPr lang="vi-VN" dirty="0"/>
              <a:t> SA </a:t>
            </a:r>
            <a:r>
              <a:rPr lang="vi-VN" dirty="0" err="1"/>
              <a:t>trả</a:t>
            </a:r>
            <a:r>
              <a:rPr lang="vi-VN" dirty="0"/>
              <a:t> </a:t>
            </a:r>
            <a:r>
              <a:rPr lang="vi-VN" dirty="0" err="1"/>
              <a:t>lời</a:t>
            </a:r>
            <a:r>
              <a:rPr lang="vi-VN" dirty="0"/>
              <a:t> </a:t>
            </a:r>
            <a:r>
              <a:rPr lang="vi-VN" dirty="0" err="1"/>
              <a:t>thấy</a:t>
            </a:r>
            <a:r>
              <a:rPr lang="vi-VN" dirty="0"/>
              <a:t> hay không </a:t>
            </a:r>
            <a:r>
              <a:rPr lang="vi-VN" dirty="0" err="1"/>
              <a:t>thấy</a:t>
            </a:r>
            <a:r>
              <a:rPr lang="vi-VN" dirty="0"/>
              <a:t> u, CT </a:t>
            </a:r>
            <a:r>
              <a:rPr lang="vi-VN" dirty="0" err="1"/>
              <a:t>bụng</a:t>
            </a:r>
            <a:r>
              <a:rPr lang="vi-VN" dirty="0"/>
              <a:t> </a:t>
            </a:r>
            <a:r>
              <a:rPr lang="vi-VN" dirty="0" err="1"/>
              <a:t>cản</a:t>
            </a:r>
            <a:r>
              <a:rPr lang="vi-VN" dirty="0"/>
              <a:t> quang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cận</a:t>
            </a:r>
            <a:r>
              <a:rPr lang="vi-VN" dirty="0"/>
              <a:t> lâm </a:t>
            </a:r>
            <a:r>
              <a:rPr lang="vi-VN" dirty="0" err="1"/>
              <a:t>sàng</a:t>
            </a:r>
            <a:r>
              <a:rPr lang="vi-VN" dirty="0"/>
              <a:t> </a:t>
            </a:r>
            <a:r>
              <a:rPr lang="vi-VN" dirty="0" err="1"/>
              <a:t>tiếp</a:t>
            </a:r>
            <a:r>
              <a:rPr lang="vi-VN" dirty="0"/>
              <a:t> theo </a:t>
            </a:r>
            <a:r>
              <a:rPr lang="vi-VN" dirty="0" err="1"/>
              <a:t>được</a:t>
            </a:r>
            <a:r>
              <a:rPr lang="vi-VN" dirty="0"/>
              <a:t> KC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r>
              <a:rPr lang="vi-VN" dirty="0"/>
              <a:t>, CT </a:t>
            </a:r>
            <a:r>
              <a:rPr lang="vi-VN" dirty="0" err="1"/>
              <a:t>giúp</a:t>
            </a:r>
            <a:r>
              <a:rPr lang="vi-VN" dirty="0"/>
              <a:t> </a:t>
            </a:r>
            <a:r>
              <a:rPr lang="vi-VN" dirty="0" err="1"/>
              <a:t>chẩn</a:t>
            </a:r>
            <a:r>
              <a:rPr lang="vi-VN" dirty="0"/>
              <a:t> </a:t>
            </a:r>
            <a:r>
              <a:rPr lang="vi-VN" dirty="0" err="1"/>
              <a:t>đoán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u hay không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giúp</a:t>
            </a:r>
            <a:r>
              <a:rPr lang="vi-VN" dirty="0"/>
              <a:t> </a:t>
            </a:r>
            <a:r>
              <a:rPr lang="vi-VN" dirty="0" err="1"/>
              <a:t>trả</a:t>
            </a:r>
            <a:r>
              <a:rPr lang="vi-VN" dirty="0"/>
              <a:t> </a:t>
            </a:r>
            <a:r>
              <a:rPr lang="vi-VN" dirty="0" err="1"/>
              <a:t>lời</a:t>
            </a:r>
            <a:r>
              <a:rPr lang="vi-VN" dirty="0"/>
              <a:t> u cơ quan </a:t>
            </a:r>
            <a:r>
              <a:rPr lang="vi-VN" dirty="0" err="1"/>
              <a:t>nào</a:t>
            </a:r>
            <a:r>
              <a:rPr lang="vi-VN" dirty="0"/>
              <a:t>.</a:t>
            </a:r>
          </a:p>
          <a:p>
            <a:r>
              <a:rPr lang="vi-VN" dirty="0"/>
              <a:t> </a:t>
            </a:r>
            <a:r>
              <a:rPr lang="vi-VN" dirty="0" err="1"/>
              <a:t>uptodate</a:t>
            </a:r>
            <a:r>
              <a:rPr lang="vi-VN" dirty="0"/>
              <a:t> 2022 </a:t>
            </a:r>
            <a:r>
              <a:rPr lang="vi-VN" dirty="0" err="1"/>
              <a:t>Khuyen</a:t>
            </a:r>
            <a:r>
              <a:rPr lang="vi-VN" dirty="0"/>
              <a:t> cao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</a:t>
            </a:r>
            <a:r>
              <a:rPr lang="vi-VN" dirty="0" err="1"/>
              <a:t>dùng</a:t>
            </a:r>
            <a:r>
              <a:rPr lang="vi-VN" dirty="0"/>
              <a:t> CT </a:t>
            </a:r>
            <a:r>
              <a:rPr lang="vi-VN" dirty="0" err="1"/>
              <a:t>đầu</a:t>
            </a:r>
            <a:r>
              <a:rPr lang="vi-VN" dirty="0"/>
              <a:t> tay khi BN đau </a:t>
            </a:r>
            <a:r>
              <a:rPr lang="vi-VN" dirty="0" err="1"/>
              <a:t>tv</a:t>
            </a:r>
            <a:r>
              <a:rPr lang="vi-VN" dirty="0"/>
              <a:t>, </a:t>
            </a:r>
            <a:r>
              <a:rPr lang="vi-VN" dirty="0" err="1"/>
              <a:t>sụt</a:t>
            </a:r>
            <a:r>
              <a:rPr lang="vi-VN" dirty="0"/>
              <a:t> cân </a:t>
            </a:r>
            <a:r>
              <a:rPr lang="vi-VN" dirty="0" err="1"/>
              <a:t>và</a:t>
            </a:r>
            <a:r>
              <a:rPr lang="vi-VN" dirty="0"/>
              <a:t> không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vàng</a:t>
            </a:r>
            <a:r>
              <a:rPr lang="vi-VN" dirty="0"/>
              <a:t> da</a:t>
            </a:r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8082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/>
              <a:t>Phương </a:t>
            </a:r>
            <a:r>
              <a:rPr lang="vi-VN" dirty="0" err="1"/>
              <a:t>pháp</a:t>
            </a:r>
            <a:r>
              <a:rPr lang="vi-VN" dirty="0"/>
              <a:t> </a:t>
            </a:r>
            <a:r>
              <a:rPr lang="vi-VN" dirty="0" err="1"/>
              <a:t>chụp</a:t>
            </a:r>
            <a:r>
              <a:rPr lang="vi-VN" dirty="0"/>
              <a:t>: </a:t>
            </a:r>
            <a:r>
              <a:rPr lang="vi-VN" dirty="0" err="1"/>
              <a:t>ngoài</a:t>
            </a:r>
            <a:r>
              <a:rPr lang="vi-VN" dirty="0"/>
              <a:t> </a:t>
            </a:r>
            <a:r>
              <a:rPr lang="vi-VN" dirty="0" err="1"/>
              <a:t>thì</a:t>
            </a:r>
            <a:r>
              <a:rPr lang="vi-VN" dirty="0"/>
              <a:t> </a:t>
            </a:r>
            <a:r>
              <a:rPr lang="vi-VN" dirty="0" err="1"/>
              <a:t>động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(15-30s sau tiêm </a:t>
            </a:r>
            <a:r>
              <a:rPr lang="vi-VN" dirty="0" err="1"/>
              <a:t>cản</a:t>
            </a:r>
            <a:r>
              <a:rPr lang="vi-VN" dirty="0"/>
              <a:t> quang), </a:t>
            </a:r>
            <a:r>
              <a:rPr lang="vi-VN" dirty="0" err="1"/>
              <a:t>thì</a:t>
            </a:r>
            <a:r>
              <a:rPr lang="vi-VN" dirty="0"/>
              <a:t> </a:t>
            </a:r>
            <a:r>
              <a:rPr lang="vi-VN" dirty="0" err="1"/>
              <a:t>tĩnh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</a:t>
            </a:r>
            <a:r>
              <a:rPr lang="vi-VN" dirty="0" err="1"/>
              <a:t>cửa</a:t>
            </a:r>
            <a:r>
              <a:rPr lang="vi-VN" dirty="0"/>
              <a:t> (45s)  </a:t>
            </a:r>
            <a:r>
              <a:rPr lang="vi-VN" dirty="0" err="1"/>
              <a:t>phase</a:t>
            </a:r>
            <a:r>
              <a:rPr lang="vi-VN" dirty="0"/>
              <a:t> </a:t>
            </a:r>
            <a:r>
              <a:rPr lang="vi-VN" dirty="0" err="1"/>
              <a:t>tuỵ</a:t>
            </a:r>
            <a:r>
              <a:rPr lang="vi-VN" dirty="0"/>
              <a:t>: </a:t>
            </a:r>
            <a:r>
              <a:rPr lang="vi-VN" dirty="0" err="1"/>
              <a:t>chụp</a:t>
            </a:r>
            <a:r>
              <a:rPr lang="vi-VN" dirty="0"/>
              <a:t> sau tiêm </a:t>
            </a:r>
            <a:r>
              <a:rPr lang="vi-VN" dirty="0" err="1"/>
              <a:t>cản</a:t>
            </a:r>
            <a:r>
              <a:rPr lang="vi-VN" dirty="0"/>
              <a:t> quang 30-40s</a:t>
            </a:r>
          </a:p>
          <a:p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: 90 – 95 %</a:t>
            </a:r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1694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/>
              <a:t>Trên </a:t>
            </a:r>
            <a:r>
              <a:rPr lang="vi-VN" dirty="0" err="1"/>
              <a:t>hình</a:t>
            </a:r>
            <a:r>
              <a:rPr lang="vi-VN" dirty="0"/>
              <a:t> b, </a:t>
            </a:r>
            <a:r>
              <a:rPr lang="vi-VN" dirty="0" err="1"/>
              <a:t>mp</a:t>
            </a:r>
            <a:r>
              <a:rPr lang="vi-VN" dirty="0"/>
              <a:t> </a:t>
            </a:r>
            <a:r>
              <a:rPr lang="vi-VN" dirty="0" err="1"/>
              <a:t>trán</a:t>
            </a:r>
            <a:r>
              <a:rPr lang="vi-VN" dirty="0"/>
              <a:t>, </a:t>
            </a:r>
            <a:r>
              <a:rPr lang="vi-VN" dirty="0" err="1"/>
              <a:t>Thấy</a:t>
            </a:r>
            <a:r>
              <a:rPr lang="vi-VN" dirty="0"/>
              <a:t> </a:t>
            </a:r>
            <a:r>
              <a:rPr lang="vi-VN" dirty="0" err="1"/>
              <a:t>dấu</a:t>
            </a:r>
            <a:r>
              <a:rPr lang="vi-VN" dirty="0"/>
              <a:t> </a:t>
            </a:r>
            <a:r>
              <a:rPr lang="vi-VN" dirty="0" err="1"/>
              <a:t>hiệu</a:t>
            </a:r>
            <a:r>
              <a:rPr lang="vi-VN" dirty="0"/>
              <a:t> </a:t>
            </a:r>
            <a:r>
              <a:rPr lang="vi-VN" dirty="0" err="1"/>
              <a:t>cắt</a:t>
            </a:r>
            <a:r>
              <a:rPr lang="vi-VN" dirty="0"/>
              <a:t> </a:t>
            </a:r>
            <a:r>
              <a:rPr lang="vi-VN" dirty="0" err="1"/>
              <a:t>cụt</a:t>
            </a:r>
            <a:r>
              <a:rPr lang="vi-VN" dirty="0"/>
              <a:t> </a:t>
            </a:r>
            <a:r>
              <a:rPr lang="vi-VN" dirty="0" err="1"/>
              <a:t>đột</a:t>
            </a:r>
            <a:r>
              <a:rPr lang="vi-VN" dirty="0"/>
              <a:t> </a:t>
            </a:r>
            <a:r>
              <a:rPr lang="vi-VN" dirty="0" err="1"/>
              <a:t>ngột</a:t>
            </a:r>
            <a:r>
              <a:rPr lang="vi-VN" dirty="0"/>
              <a:t> OMC,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tổn</a:t>
            </a:r>
            <a:r>
              <a:rPr lang="vi-VN" dirty="0"/>
              <a:t> thương </a:t>
            </a:r>
            <a:r>
              <a:rPr lang="vi-VN" dirty="0" err="1"/>
              <a:t>có</a:t>
            </a:r>
            <a:r>
              <a:rPr lang="vi-VN" dirty="0"/>
              <a:t> đâm </a:t>
            </a:r>
            <a:r>
              <a:rPr lang="vi-VN" dirty="0" err="1"/>
              <a:t>độ</a:t>
            </a:r>
            <a:r>
              <a:rPr lang="vi-VN" dirty="0"/>
              <a:t> mô </a:t>
            </a:r>
            <a:r>
              <a:rPr lang="vi-VN" dirty="0" err="1"/>
              <a:t>mềm</a:t>
            </a:r>
            <a:r>
              <a:rPr lang="vi-VN" dirty="0"/>
              <a:t> </a:t>
            </a:r>
            <a:r>
              <a:rPr lang="vi-VN" dirty="0" err="1"/>
              <a:t>tại</a:t>
            </a:r>
            <a:r>
              <a:rPr lang="vi-VN" dirty="0"/>
              <a:t> </a:t>
            </a:r>
            <a:r>
              <a:rPr lang="vi-VN" dirty="0" err="1"/>
              <a:t>vị</a:t>
            </a:r>
            <a:r>
              <a:rPr lang="vi-VN" dirty="0"/>
              <a:t> </a:t>
            </a:r>
            <a:r>
              <a:rPr lang="vi-VN" dirty="0" err="1"/>
              <a:t>trí</a:t>
            </a:r>
            <a:r>
              <a:rPr lang="vi-VN" dirty="0"/>
              <a:t> </a:t>
            </a:r>
            <a:r>
              <a:rPr lang="vi-VN" dirty="0" err="1"/>
              <a:t>này</a:t>
            </a:r>
            <a:r>
              <a:rPr lang="vi-VN" dirty="0"/>
              <a:t>, </a:t>
            </a:r>
            <a:r>
              <a:rPr lang="vi-VN" dirty="0" err="1"/>
              <a:t>hình</a:t>
            </a:r>
            <a:r>
              <a:rPr lang="vi-VN" dirty="0"/>
              <a:t> a </a:t>
            </a:r>
            <a:r>
              <a:rPr lang="vi-VN" dirty="0" err="1"/>
              <a:t>mặt</a:t>
            </a:r>
            <a:r>
              <a:rPr lang="vi-VN" dirty="0"/>
              <a:t> </a:t>
            </a:r>
            <a:r>
              <a:rPr lang="vi-VN" dirty="0" err="1"/>
              <a:t>cắt</a:t>
            </a:r>
            <a:r>
              <a:rPr lang="vi-VN" dirty="0"/>
              <a:t> ngang </a:t>
            </a:r>
            <a:r>
              <a:rPr lang="vi-VN" dirty="0" err="1"/>
              <a:t>của</a:t>
            </a:r>
            <a:r>
              <a:rPr lang="vi-VN" dirty="0"/>
              <a:t> </a:t>
            </a:r>
            <a:r>
              <a:rPr lang="vi-VN" dirty="0" err="1"/>
              <a:t>khối</a:t>
            </a:r>
            <a:r>
              <a:rPr lang="vi-VN" dirty="0"/>
              <a:t> u </a:t>
            </a:r>
            <a:r>
              <a:rPr lang="vi-VN" dirty="0" err="1"/>
              <a:t>tại</a:t>
            </a:r>
            <a:r>
              <a:rPr lang="vi-VN" dirty="0"/>
              <a:t> </a:t>
            </a:r>
            <a:r>
              <a:rPr lang="vi-VN" dirty="0" err="1"/>
              <a:t>vị</a:t>
            </a:r>
            <a:r>
              <a:rPr lang="vi-VN" dirty="0"/>
              <a:t> </a:t>
            </a:r>
            <a:r>
              <a:rPr lang="vi-VN" dirty="0" err="1"/>
              <a:t>trí</a:t>
            </a:r>
            <a:r>
              <a:rPr lang="vi-VN" dirty="0"/>
              <a:t> </a:t>
            </a:r>
            <a:r>
              <a:rPr lang="vi-VN" dirty="0" err="1"/>
              <a:t>cắt</a:t>
            </a:r>
            <a:r>
              <a:rPr lang="vi-VN" dirty="0"/>
              <a:t> </a:t>
            </a:r>
            <a:r>
              <a:rPr lang="vi-VN" dirty="0" err="1"/>
              <a:t>cụt</a:t>
            </a:r>
            <a:r>
              <a:rPr lang="vi-VN" dirty="0"/>
              <a:t> OMC </a:t>
            </a:r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689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/>
              <a:t>* </a:t>
            </a:r>
            <a:r>
              <a:rPr lang="vi-VN" dirty="0" err="1"/>
              <a:t>động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thân </a:t>
            </a:r>
            <a:r>
              <a:rPr lang="vi-VN" dirty="0" err="1"/>
              <a:t>tạng</a:t>
            </a:r>
            <a:r>
              <a:rPr lang="vi-VN" dirty="0"/>
              <a:t>, </a:t>
            </a:r>
            <a:r>
              <a:rPr lang="vi-VN" dirty="0" err="1"/>
              <a:t>động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</a:t>
            </a:r>
            <a:r>
              <a:rPr lang="vi-VN" dirty="0" err="1"/>
              <a:t>mạc</a:t>
            </a:r>
            <a:r>
              <a:rPr lang="vi-VN" dirty="0"/>
              <a:t> treo </a:t>
            </a:r>
            <a:r>
              <a:rPr lang="vi-VN" dirty="0" err="1"/>
              <a:t>tràng</a:t>
            </a:r>
            <a:r>
              <a:rPr lang="vi-VN" dirty="0"/>
              <a:t> trên, </a:t>
            </a:r>
            <a:r>
              <a:rPr lang="vi-VN" dirty="0" err="1"/>
              <a:t>động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gan chung</a:t>
            </a:r>
          </a:p>
          <a:p>
            <a:r>
              <a:rPr lang="vi-VN" dirty="0"/>
              <a:t>Tiêu </a:t>
            </a:r>
            <a:r>
              <a:rPr lang="vi-VN" dirty="0" err="1"/>
              <a:t>chuẩn</a:t>
            </a:r>
            <a:r>
              <a:rPr lang="vi-VN" dirty="0"/>
              <a:t> </a:t>
            </a:r>
            <a:r>
              <a:rPr lang="vi-VN" dirty="0" err="1"/>
              <a:t>này</a:t>
            </a:r>
            <a:r>
              <a:rPr lang="vi-VN" dirty="0"/>
              <a:t>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r>
              <a:rPr lang="vi-VN" dirty="0"/>
              <a:t> cho ung thư </a:t>
            </a:r>
            <a:r>
              <a:rPr lang="vi-VN" dirty="0" err="1"/>
              <a:t>tụy</a:t>
            </a:r>
            <a:r>
              <a:rPr lang="vi-VN" dirty="0"/>
              <a:t>,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u </a:t>
            </a:r>
            <a:r>
              <a:rPr lang="vi-VN" dirty="0" err="1"/>
              <a:t>khác</a:t>
            </a:r>
            <a:r>
              <a:rPr lang="vi-VN" dirty="0"/>
              <a:t>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chưa </a:t>
            </a:r>
            <a:r>
              <a:rPr lang="vi-VN" dirty="0" err="1"/>
              <a:t>có</a:t>
            </a:r>
            <a:r>
              <a:rPr lang="vi-VN" dirty="0"/>
              <a:t> tiêu </a:t>
            </a:r>
            <a:r>
              <a:rPr lang="vi-VN" dirty="0" err="1"/>
              <a:t>chuẩn</a:t>
            </a:r>
            <a:r>
              <a:rPr lang="vi-VN" dirty="0"/>
              <a:t> </a:t>
            </a:r>
            <a:r>
              <a:rPr lang="vi-VN" dirty="0" err="1"/>
              <a:t>chính</a:t>
            </a:r>
            <a:r>
              <a:rPr lang="vi-VN" dirty="0"/>
              <a:t> </a:t>
            </a:r>
            <a:r>
              <a:rPr lang="vi-VN" dirty="0" err="1"/>
              <a:t>thức</a:t>
            </a:r>
            <a:r>
              <a:rPr lang="vi-VN" dirty="0"/>
              <a:t> nên </a:t>
            </a:r>
            <a:r>
              <a:rPr lang="vi-VN" dirty="0" err="1"/>
              <a:t>vẫn</a:t>
            </a:r>
            <a:r>
              <a:rPr lang="vi-VN" dirty="0"/>
              <a:t>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r>
              <a:rPr lang="vi-VN" dirty="0"/>
              <a:t> tiêu </a:t>
            </a:r>
            <a:r>
              <a:rPr lang="vi-VN" dirty="0" err="1"/>
              <a:t>chuẩn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ung thư </a:t>
            </a:r>
            <a:r>
              <a:rPr lang="vi-VN" dirty="0" err="1"/>
              <a:t>tụy</a:t>
            </a:r>
            <a:r>
              <a:rPr lang="vi-VN" dirty="0"/>
              <a:t> PDAC </a:t>
            </a:r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328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/>
              <a:t>ERCP không </a:t>
            </a:r>
            <a:r>
              <a:rPr lang="vi-VN" dirty="0" err="1"/>
              <a:t>khuyến</a:t>
            </a:r>
            <a:r>
              <a:rPr lang="vi-VN" dirty="0"/>
              <a:t> </a:t>
            </a:r>
            <a:r>
              <a:rPr lang="vi-VN" dirty="0" err="1"/>
              <a:t>cáo</a:t>
            </a:r>
            <a:r>
              <a:rPr lang="vi-VN" dirty="0"/>
              <a:t> trong sinh </a:t>
            </a:r>
            <a:r>
              <a:rPr lang="vi-VN" dirty="0" err="1"/>
              <a:t>thiết</a:t>
            </a:r>
            <a:r>
              <a:rPr lang="vi-VN" dirty="0"/>
              <a:t> u </a:t>
            </a:r>
            <a:r>
              <a:rPr lang="vi-VN" dirty="0" err="1"/>
              <a:t>tụy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r>
              <a:rPr lang="vi-VN" dirty="0"/>
              <a:t> trong u </a:t>
            </a:r>
            <a:r>
              <a:rPr lang="vi-VN" dirty="0" err="1"/>
              <a:t>tụy</a:t>
            </a:r>
            <a:r>
              <a:rPr lang="vi-VN" dirty="0"/>
              <a:t> khi </a:t>
            </a:r>
            <a:r>
              <a:rPr lang="vi-VN" dirty="0" err="1"/>
              <a:t>cần</a:t>
            </a:r>
            <a:r>
              <a:rPr lang="vi-VN" dirty="0"/>
              <a:t> </a:t>
            </a:r>
            <a:r>
              <a:rPr lang="vi-VN" dirty="0" err="1"/>
              <a:t>đặt</a:t>
            </a:r>
            <a:r>
              <a:rPr lang="vi-VN" dirty="0"/>
              <a:t> </a:t>
            </a:r>
            <a:r>
              <a:rPr lang="vi-VN" dirty="0" err="1"/>
              <a:t>stent</a:t>
            </a:r>
            <a:r>
              <a:rPr lang="vi-VN" dirty="0"/>
              <a:t> </a:t>
            </a:r>
            <a:r>
              <a:rPr lang="vi-VN" dirty="0" err="1"/>
              <a:t>giải</a:t>
            </a:r>
            <a:r>
              <a:rPr lang="vi-VN" dirty="0"/>
              <a:t> </a:t>
            </a:r>
            <a:r>
              <a:rPr lang="vi-VN" dirty="0" err="1"/>
              <a:t>áp</a:t>
            </a:r>
            <a:r>
              <a:rPr lang="vi-VN" dirty="0"/>
              <a:t>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.</a:t>
            </a:r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4449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 err="1"/>
              <a:t>Bất</a:t>
            </a:r>
            <a:r>
              <a:rPr lang="vi-VN" dirty="0"/>
              <a:t> </a:t>
            </a:r>
            <a:r>
              <a:rPr lang="vi-VN" dirty="0" err="1"/>
              <a:t>lợi</a:t>
            </a:r>
            <a:r>
              <a:rPr lang="vi-VN" dirty="0"/>
              <a:t>: </a:t>
            </a:r>
            <a:r>
              <a:rPr lang="en-US" dirty="0"/>
              <a:t>PTC</a:t>
            </a:r>
            <a:endParaRPr lang="vi-VN" dirty="0"/>
          </a:p>
          <a:p>
            <a:r>
              <a:rPr lang="vi-VN" dirty="0"/>
              <a:t>Phương </a:t>
            </a:r>
            <a:r>
              <a:rPr lang="vi-VN" dirty="0" err="1"/>
              <a:t>tiện</a:t>
            </a:r>
            <a:r>
              <a:rPr lang="vi-VN" dirty="0"/>
              <a:t> xâm </a:t>
            </a:r>
            <a:r>
              <a:rPr lang="vi-VN" dirty="0" err="1"/>
              <a:t>lấn</a:t>
            </a:r>
            <a:r>
              <a:rPr lang="vi-VN" dirty="0"/>
              <a:t>, </a:t>
            </a:r>
          </a:p>
          <a:p>
            <a:r>
              <a:rPr lang="vi-VN" dirty="0"/>
              <a:t>Gây </a:t>
            </a:r>
            <a:r>
              <a:rPr lang="vi-VN" dirty="0" err="1"/>
              <a:t>nhiều</a:t>
            </a:r>
            <a:r>
              <a:rPr lang="vi-VN" dirty="0"/>
              <a:t> </a:t>
            </a:r>
            <a:r>
              <a:rPr lang="vi-VN" dirty="0" err="1"/>
              <a:t>biến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: </a:t>
            </a:r>
            <a:r>
              <a:rPr lang="vi-VN" dirty="0" err="1"/>
              <a:t>chảy</a:t>
            </a:r>
            <a:r>
              <a:rPr lang="vi-VN" dirty="0"/>
              <a:t> </a:t>
            </a:r>
            <a:r>
              <a:rPr lang="vi-VN" dirty="0" err="1"/>
              <a:t>máu</a:t>
            </a:r>
            <a:r>
              <a:rPr lang="vi-VN" dirty="0"/>
              <a:t>, </a:t>
            </a:r>
            <a:r>
              <a:rPr lang="vi-VN" dirty="0" err="1"/>
              <a:t>rò</a:t>
            </a:r>
            <a:r>
              <a:rPr lang="vi-VN" dirty="0"/>
              <a:t> </a:t>
            </a:r>
            <a:r>
              <a:rPr lang="vi-VN" dirty="0" err="1"/>
              <a:t>máu</a:t>
            </a:r>
            <a:r>
              <a:rPr lang="vi-VN" dirty="0"/>
              <a:t> –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endParaRPr lang="vi-VN" dirty="0"/>
          </a:p>
          <a:p>
            <a:r>
              <a:rPr lang="vi-VN" dirty="0"/>
              <a:t>Không </a:t>
            </a:r>
            <a:r>
              <a:rPr lang="vi-VN" dirty="0" err="1"/>
              <a:t>đánh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tuỵ</a:t>
            </a:r>
            <a:endParaRPr lang="vi-VN" dirty="0"/>
          </a:p>
          <a:p>
            <a:r>
              <a:rPr lang="vi-VN" dirty="0"/>
              <a:t> </a:t>
            </a:r>
            <a:r>
              <a:rPr lang="vi-VN" dirty="0" err="1"/>
              <a:t>Gần</a:t>
            </a:r>
            <a:r>
              <a:rPr lang="vi-VN" dirty="0"/>
              <a:t> như không </a:t>
            </a:r>
            <a:r>
              <a:rPr lang="vi-VN" dirty="0" err="1"/>
              <a:t>còn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endParaRPr lang="vi-VN" dirty="0"/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832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0-60%, 10-20%, 10%, 5-10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43246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vi-VN" dirty="0" err="1"/>
              <a:t>Hội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 ung thư di </a:t>
            </a:r>
            <a:r>
              <a:rPr lang="vi-VN" dirty="0" err="1"/>
              <a:t>truyền</a:t>
            </a:r>
            <a:r>
              <a:rPr lang="vi-VN" dirty="0"/>
              <a:t>: UT </a:t>
            </a:r>
            <a:r>
              <a:rPr lang="vi-VN" dirty="0" err="1"/>
              <a:t>đại</a:t>
            </a:r>
            <a:r>
              <a:rPr lang="vi-VN" dirty="0"/>
              <a:t> </a:t>
            </a:r>
            <a:r>
              <a:rPr lang="vi-VN" dirty="0" err="1"/>
              <a:t>trực</a:t>
            </a:r>
            <a:r>
              <a:rPr lang="vi-VN" dirty="0"/>
              <a:t> </a:t>
            </a:r>
            <a:r>
              <a:rPr lang="vi-VN" dirty="0" err="1"/>
              <a:t>tràng</a:t>
            </a:r>
            <a:r>
              <a:rPr lang="vi-VN" dirty="0"/>
              <a:t> di </a:t>
            </a:r>
            <a:r>
              <a:rPr lang="vi-VN" dirty="0" err="1"/>
              <a:t>truyền</a:t>
            </a:r>
            <a:r>
              <a:rPr lang="vi-VN" dirty="0"/>
              <a:t> không đa </a:t>
            </a:r>
            <a:r>
              <a:rPr lang="vi-VN" dirty="0" err="1"/>
              <a:t>polyp</a:t>
            </a:r>
            <a:r>
              <a:rPr lang="vi-VN" dirty="0"/>
              <a:t>, ung thư </a:t>
            </a:r>
            <a:r>
              <a:rPr lang="vi-VN" dirty="0" err="1"/>
              <a:t>vú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mang </a:t>
            </a:r>
            <a:r>
              <a:rPr lang="vi-VN" dirty="0" err="1"/>
              <a:t>đột</a:t>
            </a:r>
            <a:r>
              <a:rPr lang="vi-VN" dirty="0"/>
              <a:t> </a:t>
            </a:r>
            <a:r>
              <a:rPr lang="vi-VN" dirty="0" err="1"/>
              <a:t>biến</a:t>
            </a:r>
            <a:r>
              <a:rPr lang="vi-VN" dirty="0"/>
              <a:t> </a:t>
            </a:r>
            <a:r>
              <a:rPr lang="vi-VN" dirty="0" err="1"/>
              <a:t>gen</a:t>
            </a:r>
            <a:r>
              <a:rPr lang="vi-VN" dirty="0"/>
              <a:t> BRCA2. </a:t>
            </a:r>
            <a:r>
              <a:rPr lang="en-US" dirty="0"/>
              <a:t> 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1081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/>
              <a:t>25 % BN </a:t>
            </a:r>
            <a:r>
              <a:rPr lang="vi-VN" dirty="0" err="1"/>
              <a:t>còn</a:t>
            </a:r>
            <a:r>
              <a:rPr lang="vi-VN" dirty="0"/>
              <a:t> </a:t>
            </a:r>
            <a:r>
              <a:rPr lang="vi-VN" dirty="0" err="1"/>
              <a:t>lại</a:t>
            </a:r>
            <a:r>
              <a:rPr lang="vi-VN" dirty="0"/>
              <a:t> k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vì</a:t>
            </a:r>
            <a:r>
              <a:rPr lang="vi-VN" dirty="0"/>
              <a:t> </a:t>
            </a:r>
            <a:r>
              <a:rPr lang="vi-VN" dirty="0" err="1"/>
              <a:t>vị</a:t>
            </a:r>
            <a:r>
              <a:rPr lang="vi-VN" dirty="0"/>
              <a:t> </a:t>
            </a:r>
            <a:r>
              <a:rPr lang="vi-VN" dirty="0" err="1"/>
              <a:t>trí</a:t>
            </a:r>
            <a:r>
              <a:rPr lang="vi-VN" dirty="0"/>
              <a:t> u k </a:t>
            </a:r>
            <a:r>
              <a:rPr lang="vi-VN" dirty="0" err="1"/>
              <a:t>chèn</a:t>
            </a:r>
            <a:r>
              <a:rPr lang="vi-VN" dirty="0"/>
              <a:t> </a:t>
            </a:r>
            <a:r>
              <a:rPr lang="vi-VN" dirty="0" err="1"/>
              <a:t>ép</a:t>
            </a:r>
            <a:r>
              <a:rPr lang="vi-VN" dirty="0"/>
              <a:t> OMC </a:t>
            </a:r>
            <a:r>
              <a:rPr lang="vi-VN" dirty="0" err="1"/>
              <a:t>hoặc</a:t>
            </a:r>
            <a:r>
              <a:rPr lang="vi-VN" dirty="0"/>
              <a:t> u chưa </a:t>
            </a:r>
            <a:r>
              <a:rPr lang="vi-VN" dirty="0" err="1"/>
              <a:t>chèn</a:t>
            </a:r>
            <a:r>
              <a:rPr lang="vi-VN" dirty="0"/>
              <a:t> </a:t>
            </a:r>
            <a:r>
              <a:rPr lang="vi-VN" dirty="0" err="1"/>
              <a:t>ép</a:t>
            </a:r>
            <a:r>
              <a:rPr lang="vi-VN" dirty="0"/>
              <a:t> OMC</a:t>
            </a:r>
          </a:p>
          <a:p>
            <a:r>
              <a:rPr lang="vi-VN" dirty="0" err="1"/>
              <a:t>Sụt</a:t>
            </a:r>
            <a:r>
              <a:rPr lang="vi-VN" dirty="0"/>
              <a:t> cân k </a:t>
            </a:r>
            <a:r>
              <a:rPr lang="vi-VN" dirty="0" err="1"/>
              <a:t>chủ</a:t>
            </a:r>
            <a:r>
              <a:rPr lang="vi-VN" dirty="0"/>
              <a:t> ý, </a:t>
            </a:r>
            <a:r>
              <a:rPr lang="vi-VN" dirty="0" err="1"/>
              <a:t>có</a:t>
            </a:r>
            <a:r>
              <a:rPr lang="vi-VN" dirty="0"/>
              <a:t> ý </a:t>
            </a:r>
            <a:r>
              <a:rPr lang="vi-VN" dirty="0" err="1"/>
              <a:t>nghĩa</a:t>
            </a:r>
            <a:endParaRPr lang="vi-VN" dirty="0"/>
          </a:p>
          <a:p>
            <a:r>
              <a:rPr lang="vi-VN" dirty="0"/>
              <a:t>Đau </a:t>
            </a:r>
            <a:r>
              <a:rPr lang="vi-VN" dirty="0" err="1"/>
              <a:t>bụng</a:t>
            </a:r>
            <a:r>
              <a:rPr lang="vi-VN" dirty="0"/>
              <a:t> mơ </a:t>
            </a:r>
            <a:r>
              <a:rPr lang="vi-VN" dirty="0" err="1"/>
              <a:t>hồ</a:t>
            </a:r>
            <a:r>
              <a:rPr lang="vi-VN" dirty="0"/>
              <a:t> </a:t>
            </a:r>
            <a:r>
              <a:rPr lang="vi-VN" dirty="0" err="1"/>
              <a:t>vùng</a:t>
            </a:r>
            <a:r>
              <a:rPr lang="vi-VN" dirty="0"/>
              <a:t> trên </a:t>
            </a:r>
            <a:r>
              <a:rPr lang="vi-VN" dirty="0" err="1"/>
              <a:t>rốn</a:t>
            </a:r>
            <a:r>
              <a:rPr lang="vi-VN" dirty="0"/>
              <a:t> lan sau lưng</a:t>
            </a:r>
          </a:p>
          <a:p>
            <a:r>
              <a:rPr lang="vi-VN" dirty="0"/>
              <a:t> </a:t>
            </a:r>
            <a:r>
              <a:rPr lang="vi-VN" dirty="0" err="1"/>
              <a:t>Ngứa</a:t>
            </a:r>
            <a:r>
              <a:rPr lang="vi-VN" dirty="0"/>
              <a:t> trong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: </a:t>
            </a:r>
            <a:r>
              <a:rPr lang="vi-VN" dirty="0" err="1"/>
              <a:t>Việc</a:t>
            </a:r>
            <a:r>
              <a:rPr lang="vi-VN" dirty="0"/>
              <a:t> ứ </a:t>
            </a:r>
            <a:r>
              <a:rPr lang="vi-VN" dirty="0" err="1"/>
              <a:t>đọ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sẽ</a:t>
            </a:r>
            <a:r>
              <a:rPr lang="vi-VN" dirty="0"/>
              <a:t> </a:t>
            </a:r>
            <a:r>
              <a:rPr lang="vi-VN" dirty="0" err="1"/>
              <a:t>làm</a:t>
            </a:r>
            <a:r>
              <a:rPr lang="vi-VN" dirty="0"/>
              <a:t> tăng </a:t>
            </a:r>
            <a:r>
              <a:rPr lang="vi-VN" dirty="0" err="1"/>
              <a:t>acid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trong </a:t>
            </a:r>
            <a:r>
              <a:rPr lang="vi-VN" dirty="0" err="1"/>
              <a:t>máu</a:t>
            </a:r>
            <a:r>
              <a:rPr lang="vi-VN" dirty="0"/>
              <a:t>. </a:t>
            </a:r>
            <a:r>
              <a:rPr lang="vi-VN" dirty="0" err="1"/>
              <a:t>Nó</a:t>
            </a:r>
            <a:r>
              <a:rPr lang="vi-VN" dirty="0"/>
              <a:t> </a:t>
            </a:r>
            <a:r>
              <a:rPr lang="vi-VN" dirty="0" err="1"/>
              <a:t>sẽ</a:t>
            </a:r>
            <a:r>
              <a:rPr lang="vi-VN" dirty="0"/>
              <a:t> </a:t>
            </a:r>
            <a:r>
              <a:rPr lang="vi-VN" dirty="0" err="1"/>
              <a:t>kích</a:t>
            </a:r>
            <a:r>
              <a:rPr lang="vi-VN" dirty="0"/>
              <a:t> </a:t>
            </a:r>
            <a:r>
              <a:rPr lang="vi-VN" dirty="0" err="1"/>
              <a:t>thích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đầu</a:t>
            </a:r>
            <a:r>
              <a:rPr lang="vi-VN" dirty="0"/>
              <a:t> dây </a:t>
            </a:r>
            <a:r>
              <a:rPr lang="vi-VN" dirty="0" err="1"/>
              <a:t>thần</a:t>
            </a:r>
            <a:r>
              <a:rPr lang="vi-VN" dirty="0"/>
              <a:t> kinh </a:t>
            </a:r>
            <a:r>
              <a:rPr lang="vi-VN" dirty="0" err="1"/>
              <a:t>dưới</a:t>
            </a:r>
            <a:r>
              <a:rPr lang="vi-VN" dirty="0"/>
              <a:t> da gây </a:t>
            </a:r>
            <a:r>
              <a:rPr lang="vi-VN" dirty="0" err="1"/>
              <a:t>ngứa</a:t>
            </a:r>
            <a:r>
              <a:rPr lang="vi-VN" dirty="0"/>
              <a:t>.</a:t>
            </a:r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4745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rvoisier: </a:t>
            </a:r>
            <a:r>
              <a:rPr lang="en-US" dirty="0" err="1"/>
              <a:t>nhạy</a:t>
            </a:r>
            <a:r>
              <a:rPr lang="en-US" dirty="0"/>
              <a:t> 25-55%, </a:t>
            </a:r>
            <a:r>
              <a:rPr lang="en-US" dirty="0" err="1"/>
              <a:t>đặc</a:t>
            </a:r>
            <a:r>
              <a:rPr lang="en-US" dirty="0"/>
              <a:t> </a:t>
            </a:r>
            <a:r>
              <a:rPr lang="en-US" dirty="0" err="1"/>
              <a:t>hiệu</a:t>
            </a:r>
            <a:r>
              <a:rPr lang="en-US" dirty="0"/>
              <a:t> 83-90% </a:t>
            </a:r>
          </a:p>
          <a:p>
            <a:r>
              <a:rPr lang="vi-VN" dirty="0" err="1"/>
              <a:t>Định</a:t>
            </a:r>
            <a:r>
              <a:rPr lang="vi-VN" dirty="0"/>
              <a:t> </a:t>
            </a:r>
            <a:r>
              <a:rPr lang="vi-VN" dirty="0" err="1"/>
              <a:t>luật</a:t>
            </a:r>
            <a:r>
              <a:rPr lang="vi-VN" dirty="0"/>
              <a:t> </a:t>
            </a:r>
            <a:r>
              <a:rPr lang="vi-VN" dirty="0" err="1"/>
              <a:t>Courvoisier</a:t>
            </a:r>
            <a:r>
              <a:rPr lang="vi-VN" dirty="0"/>
              <a:t> ( </a:t>
            </a:r>
            <a:r>
              <a:rPr lang="vi-VN" dirty="0" err="1"/>
              <a:t>hội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 </a:t>
            </a:r>
            <a:r>
              <a:rPr lang="vi-VN" dirty="0" err="1"/>
              <a:t>Courvoisier</a:t>
            </a:r>
            <a:r>
              <a:rPr lang="vi-VN" dirty="0"/>
              <a:t>, </a:t>
            </a:r>
            <a:r>
              <a:rPr lang="vi-VN" dirty="0" err="1"/>
              <a:t>dấu</a:t>
            </a:r>
            <a:r>
              <a:rPr lang="vi-VN" dirty="0"/>
              <a:t> </a:t>
            </a:r>
            <a:r>
              <a:rPr lang="vi-VN" dirty="0" err="1"/>
              <a:t>hiệu</a:t>
            </a:r>
            <a:r>
              <a:rPr lang="vi-VN" dirty="0"/>
              <a:t> </a:t>
            </a:r>
            <a:r>
              <a:rPr lang="vi-VN" dirty="0" err="1"/>
              <a:t>Courvoisier</a:t>
            </a:r>
            <a:r>
              <a:rPr lang="vi-VN" dirty="0"/>
              <a:t> – </a:t>
            </a:r>
            <a:r>
              <a:rPr lang="vi-VN" dirty="0" err="1"/>
              <a:t>Terrier</a:t>
            </a:r>
            <a:r>
              <a:rPr lang="vi-VN" dirty="0"/>
              <a:t> ) cho </a:t>
            </a:r>
            <a:r>
              <a:rPr lang="vi-VN" dirty="0" err="1"/>
              <a:t>rằng</a:t>
            </a:r>
            <a:r>
              <a:rPr lang="vi-VN" dirty="0"/>
              <a:t> </a:t>
            </a:r>
            <a:r>
              <a:rPr lang="vi-VN" dirty="0" err="1"/>
              <a:t>sự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</a:t>
            </a:r>
            <a:r>
              <a:rPr lang="vi-VN" dirty="0" err="1"/>
              <a:t>diện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</a:t>
            </a:r>
            <a:r>
              <a:rPr lang="vi-VN" dirty="0" err="1"/>
              <a:t>một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to </a:t>
            </a:r>
            <a:r>
              <a:rPr lang="vi-VN" dirty="0" err="1"/>
              <a:t>ấn</a:t>
            </a:r>
            <a:r>
              <a:rPr lang="vi-VN" dirty="0"/>
              <a:t> </a:t>
            </a:r>
            <a:r>
              <a:rPr lang="vi-VN" dirty="0" err="1"/>
              <a:t>chẩn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không đau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kèm</a:t>
            </a:r>
            <a:r>
              <a:rPr lang="vi-VN" dirty="0"/>
              <a:t> theo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nhẹ</a:t>
            </a:r>
            <a:r>
              <a:rPr lang="vi-VN" dirty="0"/>
              <a:t> (nguyên nhân không </a:t>
            </a:r>
            <a:r>
              <a:rPr lang="vi-VN" dirty="0" err="1"/>
              <a:t>phải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sỏ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)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một</a:t>
            </a:r>
            <a:r>
              <a:rPr lang="vi-VN" dirty="0"/>
              <a:t> </a:t>
            </a:r>
            <a:r>
              <a:rPr lang="vi-VN" dirty="0" err="1"/>
              <a:t>biểu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</a:t>
            </a:r>
            <a:r>
              <a:rPr lang="vi-VN" dirty="0" err="1"/>
              <a:t>tắc</a:t>
            </a:r>
            <a:r>
              <a:rPr lang="vi-VN" dirty="0"/>
              <a:t> OMC </a:t>
            </a:r>
            <a:r>
              <a:rPr lang="vi-VN" dirty="0" err="1"/>
              <a:t>bởi</a:t>
            </a:r>
            <a:r>
              <a:rPr lang="vi-VN" dirty="0"/>
              <a:t> ung thư </a:t>
            </a:r>
            <a:r>
              <a:rPr lang="vi-VN" dirty="0" err="1"/>
              <a:t>thường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ung thư </a:t>
            </a:r>
            <a:r>
              <a:rPr lang="vi-VN" dirty="0" err="1"/>
              <a:t>đầu</a:t>
            </a:r>
            <a:r>
              <a:rPr lang="vi-VN" dirty="0"/>
              <a:t> </a:t>
            </a:r>
            <a:r>
              <a:rPr lang="vi-VN" dirty="0" err="1"/>
              <a:t>tụy</a:t>
            </a:r>
            <a:r>
              <a:rPr lang="vi-VN" dirty="0"/>
              <a:t> </a:t>
            </a:r>
            <a:r>
              <a:rPr lang="vi-VN" dirty="0" err="1"/>
              <a:t>tạng</a:t>
            </a:r>
            <a:r>
              <a:rPr lang="vi-VN" dirty="0"/>
              <a:t>.</a:t>
            </a:r>
          </a:p>
          <a:p>
            <a:r>
              <a:rPr lang="vi-VN" dirty="0" err="1"/>
              <a:t>Khối</a:t>
            </a:r>
            <a:r>
              <a:rPr lang="vi-VN" dirty="0"/>
              <a:t> u gây </a:t>
            </a:r>
            <a:r>
              <a:rPr lang="vi-VN" dirty="0" err="1"/>
              <a:t>cản</a:t>
            </a:r>
            <a:r>
              <a:rPr lang="vi-VN" dirty="0"/>
              <a:t> </a:t>
            </a:r>
            <a:r>
              <a:rPr lang="vi-VN" dirty="0" err="1"/>
              <a:t>trở</a:t>
            </a:r>
            <a:r>
              <a:rPr lang="vi-VN" dirty="0"/>
              <a:t>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chủ</a:t>
            </a:r>
            <a:r>
              <a:rPr lang="vi-VN" dirty="0"/>
              <a:t> </a:t>
            </a:r>
            <a:r>
              <a:rPr lang="vi-VN" dirty="0" err="1"/>
              <a:t>dẫn</a:t>
            </a:r>
            <a:r>
              <a:rPr lang="vi-VN" dirty="0"/>
              <a:t> </a:t>
            </a:r>
            <a:r>
              <a:rPr lang="vi-VN" dirty="0" err="1"/>
              <a:t>đến</a:t>
            </a:r>
            <a:r>
              <a:rPr lang="vi-VN" dirty="0"/>
              <a:t> </a:t>
            </a:r>
            <a:r>
              <a:rPr lang="vi-VN" dirty="0" err="1"/>
              <a:t>một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dãn</a:t>
            </a:r>
            <a:r>
              <a:rPr lang="vi-VN" dirty="0"/>
              <a:t> </a:t>
            </a:r>
            <a:r>
              <a:rPr lang="vi-VN" dirty="0" err="1"/>
              <a:t>rộng</a:t>
            </a:r>
            <a:r>
              <a:rPr lang="vi-VN" dirty="0"/>
              <a:t>. </a:t>
            </a:r>
            <a:r>
              <a:rPr lang="vi-VN" dirty="0" err="1"/>
              <a:t>Ngược</a:t>
            </a:r>
            <a:r>
              <a:rPr lang="vi-VN" dirty="0"/>
              <a:t> </a:t>
            </a:r>
            <a:r>
              <a:rPr lang="vi-VN" dirty="0" err="1"/>
              <a:t>lại</a:t>
            </a:r>
            <a:r>
              <a:rPr lang="vi-VN" dirty="0"/>
              <a:t>, </a:t>
            </a:r>
            <a:r>
              <a:rPr lang="vi-VN" dirty="0" err="1"/>
              <a:t>sỏi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cản</a:t>
            </a:r>
            <a:r>
              <a:rPr lang="vi-VN" dirty="0"/>
              <a:t> </a:t>
            </a:r>
            <a:r>
              <a:rPr lang="vi-VN" dirty="0" err="1"/>
              <a:t>trở</a:t>
            </a:r>
            <a:r>
              <a:rPr lang="vi-VN" dirty="0"/>
              <a:t> </a:t>
            </a:r>
            <a:r>
              <a:rPr lang="vi-VN" dirty="0" err="1"/>
              <a:t>sự</a:t>
            </a:r>
            <a:r>
              <a:rPr lang="vi-VN" dirty="0"/>
              <a:t> lưu thông </a:t>
            </a:r>
            <a:r>
              <a:rPr lang="vi-VN" dirty="0" err="1"/>
              <a:t>mật</a:t>
            </a:r>
            <a:r>
              <a:rPr lang="vi-VN" dirty="0"/>
              <a:t> không </a:t>
            </a:r>
            <a:r>
              <a:rPr lang="vi-VN" dirty="0" err="1"/>
              <a:t>dẫn</a:t>
            </a:r>
            <a:r>
              <a:rPr lang="vi-VN" dirty="0"/>
              <a:t> </a:t>
            </a:r>
            <a:r>
              <a:rPr lang="vi-VN" dirty="0" err="1"/>
              <a:t>đến</a:t>
            </a:r>
            <a:r>
              <a:rPr lang="vi-VN" dirty="0"/>
              <a:t> </a:t>
            </a:r>
            <a:r>
              <a:rPr lang="vi-VN" dirty="0" err="1"/>
              <a:t>một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dãn</a:t>
            </a:r>
            <a:r>
              <a:rPr lang="vi-VN" dirty="0"/>
              <a:t> </a:t>
            </a:r>
            <a:r>
              <a:rPr lang="vi-VN" dirty="0" err="1"/>
              <a:t>rộng</a:t>
            </a:r>
            <a:r>
              <a:rPr lang="vi-VN" dirty="0"/>
              <a:t> </a:t>
            </a:r>
            <a:r>
              <a:rPr lang="vi-VN" dirty="0" err="1"/>
              <a:t>mà</a:t>
            </a:r>
            <a:r>
              <a:rPr lang="vi-VN" dirty="0"/>
              <a:t> </a:t>
            </a:r>
            <a:r>
              <a:rPr lang="vi-VN" dirty="0" err="1"/>
              <a:t>thường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hóa</a:t>
            </a:r>
            <a:r>
              <a:rPr lang="vi-VN" dirty="0"/>
              <a:t> </a:t>
            </a:r>
            <a:r>
              <a:rPr lang="vi-VN" dirty="0" err="1"/>
              <a:t>sẹo</a:t>
            </a:r>
            <a:r>
              <a:rPr lang="vi-VN" dirty="0"/>
              <a:t> (</a:t>
            </a:r>
            <a:r>
              <a:rPr lang="vi-VN" dirty="0" err="1"/>
              <a:t>tức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xơ </a:t>
            </a:r>
            <a:r>
              <a:rPr lang="vi-VN" dirty="0" err="1"/>
              <a:t>hóa</a:t>
            </a:r>
            <a:r>
              <a:rPr lang="vi-VN" dirty="0"/>
              <a:t> ) sau </a:t>
            </a:r>
            <a:r>
              <a:rPr lang="vi-VN" dirty="0" err="1"/>
              <a:t>đó</a:t>
            </a:r>
            <a:r>
              <a:rPr lang="vi-VN" dirty="0"/>
              <a:t> </a:t>
            </a:r>
            <a:r>
              <a:rPr lang="vi-VN" dirty="0" err="1"/>
              <a:t>mới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trạng</a:t>
            </a:r>
            <a:r>
              <a:rPr lang="vi-VN" dirty="0"/>
              <a:t> </a:t>
            </a:r>
            <a:r>
              <a:rPr lang="vi-VN" dirty="0" err="1"/>
              <a:t>dãn</a:t>
            </a:r>
            <a:r>
              <a:rPr lang="vi-VN" dirty="0"/>
              <a:t> </a:t>
            </a:r>
            <a:r>
              <a:rPr lang="vi-VN" dirty="0" err="1"/>
              <a:t>rộng</a:t>
            </a:r>
            <a:r>
              <a:rPr lang="vi-VN" dirty="0"/>
              <a:t>.</a:t>
            </a:r>
          </a:p>
          <a:p>
            <a:r>
              <a:rPr lang="vi-VN" dirty="0" err="1"/>
              <a:t>Trường</a:t>
            </a:r>
            <a:r>
              <a:rPr lang="vi-VN" dirty="0"/>
              <a:t> </a:t>
            </a:r>
            <a:r>
              <a:rPr lang="vi-VN" dirty="0" err="1"/>
              <a:t>hợp</a:t>
            </a:r>
            <a:r>
              <a:rPr lang="vi-VN" dirty="0"/>
              <a:t> </a:t>
            </a:r>
            <a:r>
              <a:rPr lang="vi-VN" dirty="0" err="1"/>
              <a:t>ngoại</a:t>
            </a:r>
            <a:r>
              <a:rPr lang="vi-VN" dirty="0"/>
              <a:t> </a:t>
            </a:r>
            <a:r>
              <a:rPr lang="vi-VN" dirty="0" err="1"/>
              <a:t>lệ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</a:t>
            </a:r>
            <a:r>
              <a:rPr lang="vi-VN" dirty="0" err="1"/>
              <a:t>định</a:t>
            </a:r>
            <a:r>
              <a:rPr lang="vi-VN" dirty="0"/>
              <a:t> </a:t>
            </a:r>
            <a:r>
              <a:rPr lang="vi-VN" dirty="0" err="1"/>
              <a:t>luật</a:t>
            </a:r>
            <a:r>
              <a:rPr lang="vi-VN" dirty="0"/>
              <a:t> </a:t>
            </a:r>
            <a:r>
              <a:rPr lang="vi-VN" dirty="0" err="1"/>
              <a:t>Courvoisier</a:t>
            </a:r>
            <a:r>
              <a:rPr lang="vi-VN" dirty="0"/>
              <a:t> </a:t>
            </a:r>
            <a:r>
              <a:rPr lang="vi-VN" dirty="0" err="1"/>
              <a:t>ngụ</a:t>
            </a:r>
            <a:r>
              <a:rPr lang="vi-VN" dirty="0"/>
              <a:t> ý </a:t>
            </a:r>
            <a:r>
              <a:rPr lang="vi-VN" dirty="0" err="1"/>
              <a:t>rằng</a:t>
            </a:r>
            <a:r>
              <a:rPr lang="vi-VN" dirty="0"/>
              <a:t> </a:t>
            </a:r>
            <a:r>
              <a:rPr lang="vi-VN" dirty="0" err="1"/>
              <a:t>sỏi</a:t>
            </a:r>
            <a:r>
              <a:rPr lang="vi-VN" dirty="0"/>
              <a:t> </a:t>
            </a:r>
            <a:r>
              <a:rPr lang="vi-VN" dirty="0" err="1"/>
              <a:t>mà</a:t>
            </a:r>
            <a:r>
              <a:rPr lang="vi-VN" dirty="0"/>
              <a:t> gây ra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và</a:t>
            </a:r>
            <a:r>
              <a:rPr lang="vi-VN" dirty="0"/>
              <a:t> không đau , </a:t>
            </a:r>
            <a:r>
              <a:rPr lang="vi-VN" dirty="0" err="1"/>
              <a:t>sờ</a:t>
            </a:r>
            <a:r>
              <a:rPr lang="vi-VN" dirty="0"/>
              <a:t> </a:t>
            </a:r>
            <a:r>
              <a:rPr lang="vi-VN" dirty="0" err="1"/>
              <a:t>thấy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, </a:t>
            </a:r>
            <a:r>
              <a:rPr lang="vi-VN" dirty="0" err="1"/>
              <a:t>điển</a:t>
            </a:r>
            <a:r>
              <a:rPr lang="vi-VN" dirty="0"/>
              <a:t>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sỏi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thành</a:t>
            </a:r>
            <a:r>
              <a:rPr lang="vi-VN" dirty="0"/>
              <a:t> </a:t>
            </a:r>
            <a:r>
              <a:rPr lang="vi-VN" dirty="0" err="1"/>
              <a:t>chậm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từ</a:t>
            </a:r>
            <a:r>
              <a:rPr lang="vi-VN" dirty="0"/>
              <a:t> </a:t>
            </a:r>
            <a:r>
              <a:rPr lang="vi-VN" dirty="0" err="1"/>
              <a:t>đó</a:t>
            </a:r>
            <a:r>
              <a:rPr lang="vi-VN" dirty="0"/>
              <a:t> cho </a:t>
            </a:r>
            <a:r>
              <a:rPr lang="vi-VN" dirty="0" err="1"/>
              <a:t>phép</a:t>
            </a:r>
            <a:r>
              <a:rPr lang="vi-VN" dirty="0"/>
              <a:t> </a:t>
            </a:r>
            <a:r>
              <a:rPr lang="vi-VN" dirty="0" err="1"/>
              <a:t>thời</a:t>
            </a:r>
            <a:r>
              <a:rPr lang="vi-VN" dirty="0"/>
              <a:t> gian </a:t>
            </a:r>
            <a:r>
              <a:rPr lang="vi-VN" dirty="0" err="1"/>
              <a:t>để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để</a:t>
            </a:r>
            <a:r>
              <a:rPr lang="vi-VN" dirty="0"/>
              <a:t> </a:t>
            </a:r>
            <a:r>
              <a:rPr lang="vi-VN" dirty="0" err="1"/>
              <a:t>trở</a:t>
            </a:r>
            <a:r>
              <a:rPr lang="vi-VN" dirty="0"/>
              <a:t> nên </a:t>
            </a:r>
            <a:r>
              <a:rPr lang="vi-VN" dirty="0" err="1"/>
              <a:t>mềm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viên </a:t>
            </a:r>
            <a:r>
              <a:rPr lang="vi-VN" dirty="0" err="1"/>
              <a:t>sỏi</a:t>
            </a:r>
            <a:r>
              <a:rPr lang="vi-VN" dirty="0"/>
              <a:t> di </a:t>
            </a:r>
            <a:r>
              <a:rPr lang="vi-VN" dirty="0" err="1"/>
              <a:t>chuyển</a:t>
            </a:r>
            <a:r>
              <a:rPr lang="vi-VN" dirty="0"/>
              <a:t> </a:t>
            </a:r>
            <a:r>
              <a:rPr lang="vi-VN" dirty="0" err="1"/>
              <a:t>xuống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kẹt</a:t>
            </a:r>
            <a:r>
              <a:rPr lang="vi-VN" dirty="0"/>
              <a:t> </a:t>
            </a:r>
            <a:r>
              <a:rPr lang="vi-VN" dirty="0" err="1"/>
              <a:t>cấp</a:t>
            </a:r>
            <a:r>
              <a:rPr lang="vi-VN" dirty="0"/>
              <a:t> </a:t>
            </a:r>
            <a:r>
              <a:rPr lang="vi-VN" dirty="0" err="1"/>
              <a:t>tính</a:t>
            </a:r>
            <a:endParaRPr lang="vi-VN" dirty="0"/>
          </a:p>
          <a:p>
            <a:endParaRPr lang="vi-VN" dirty="0"/>
          </a:p>
          <a:p>
            <a:r>
              <a:rPr lang="vi-VN" dirty="0"/>
              <a:t>    </a:t>
            </a:r>
            <a:r>
              <a:rPr lang="vi-VN" dirty="0" err="1"/>
              <a:t>Sỏi</a:t>
            </a:r>
            <a:r>
              <a:rPr lang="vi-VN" dirty="0"/>
              <a:t> rơi </a:t>
            </a:r>
            <a:r>
              <a:rPr lang="vi-VN" dirty="0" err="1"/>
              <a:t>xuống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kẹt</a:t>
            </a:r>
            <a:r>
              <a:rPr lang="vi-VN" dirty="0"/>
              <a:t> ở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endParaRPr lang="vi-VN" dirty="0"/>
          </a:p>
          <a:p>
            <a:endParaRPr lang="vi-VN" dirty="0"/>
          </a:p>
          <a:p>
            <a:r>
              <a:rPr lang="vi-VN" dirty="0"/>
              <a:t>    </a:t>
            </a:r>
            <a:r>
              <a:rPr lang="vi-VN" dirty="0" err="1"/>
              <a:t>Sỏi</a:t>
            </a:r>
            <a:r>
              <a:rPr lang="vi-VN" dirty="0"/>
              <a:t> rơi </a:t>
            </a:r>
            <a:r>
              <a:rPr lang="vi-VN" dirty="0" err="1"/>
              <a:t>xuống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kẹt</a:t>
            </a:r>
            <a:r>
              <a:rPr lang="vi-VN" dirty="0"/>
              <a:t> ở </a:t>
            </a:r>
            <a:r>
              <a:rPr lang="vi-VN" dirty="0" err="1"/>
              <a:t>ngã</a:t>
            </a:r>
            <a:r>
              <a:rPr lang="vi-VN" dirty="0"/>
              <a:t> ba </a:t>
            </a:r>
            <a:r>
              <a:rPr lang="vi-VN" dirty="0" err="1"/>
              <a:t>ống</a:t>
            </a:r>
            <a:r>
              <a:rPr lang="vi-VN" dirty="0"/>
              <a:t> gan chung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endParaRPr lang="vi-VN" dirty="0"/>
          </a:p>
          <a:p>
            <a:r>
              <a:rPr lang="vi-VN" dirty="0" err="1"/>
              <a:t>Dấu</a:t>
            </a:r>
            <a:r>
              <a:rPr lang="vi-VN" dirty="0"/>
              <a:t> </a:t>
            </a:r>
            <a:r>
              <a:rPr lang="vi-VN" dirty="0" err="1"/>
              <a:t>Courvoisier-Terrier</a:t>
            </a:r>
            <a:r>
              <a:rPr lang="vi-VN" dirty="0"/>
              <a:t>: đưa tay </a:t>
            </a:r>
            <a:r>
              <a:rPr lang="vi-VN" dirty="0" err="1"/>
              <a:t>vào</a:t>
            </a:r>
            <a:r>
              <a:rPr lang="vi-VN" dirty="0"/>
              <a:t> </a:t>
            </a:r>
            <a:r>
              <a:rPr lang="vi-VN" dirty="0" err="1"/>
              <a:t>cạnh</a:t>
            </a:r>
            <a:r>
              <a:rPr lang="vi-VN" dirty="0"/>
              <a:t> </a:t>
            </a:r>
            <a:r>
              <a:rPr lang="vi-VN" dirty="0" err="1"/>
              <a:t>bờ</a:t>
            </a:r>
            <a:r>
              <a:rPr lang="vi-VN" dirty="0"/>
              <a:t> </a:t>
            </a:r>
            <a:r>
              <a:rPr lang="vi-VN" dirty="0" err="1"/>
              <a:t>dưới</a:t>
            </a:r>
            <a:r>
              <a:rPr lang="vi-VN" dirty="0"/>
              <a:t> xương </a:t>
            </a:r>
            <a:r>
              <a:rPr lang="vi-VN" dirty="0" err="1"/>
              <a:t>sườn</a:t>
            </a:r>
            <a:r>
              <a:rPr lang="vi-VN" dirty="0"/>
              <a:t>, </a:t>
            </a:r>
            <a:r>
              <a:rPr lang="vi-VN" dirty="0" err="1"/>
              <a:t>nhận</a:t>
            </a:r>
            <a:r>
              <a:rPr lang="vi-VN" dirty="0"/>
              <a:t> </a:t>
            </a:r>
            <a:r>
              <a:rPr lang="vi-VN" dirty="0" err="1"/>
              <a:t>thấy</a:t>
            </a:r>
            <a:r>
              <a:rPr lang="vi-VN" dirty="0"/>
              <a:t> 1 </a:t>
            </a:r>
            <a:r>
              <a:rPr lang="vi-VN" dirty="0" err="1"/>
              <a:t>khối</a:t>
            </a:r>
            <a:r>
              <a:rPr lang="vi-VN" dirty="0"/>
              <a:t> </a:t>
            </a:r>
            <a:r>
              <a:rPr lang="vi-VN" dirty="0" err="1"/>
              <a:t>dạng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di </a:t>
            </a:r>
            <a:r>
              <a:rPr lang="vi-VN" dirty="0" err="1"/>
              <a:t>chuyển</a:t>
            </a:r>
            <a:r>
              <a:rPr lang="vi-VN" dirty="0"/>
              <a:t> theo </a:t>
            </a:r>
            <a:r>
              <a:rPr lang="vi-VN" dirty="0" err="1"/>
              <a:t>nhịp</a:t>
            </a:r>
            <a:r>
              <a:rPr lang="vi-VN" dirty="0"/>
              <a:t> hô </a:t>
            </a:r>
            <a:r>
              <a:rPr lang="vi-VN" dirty="0" err="1"/>
              <a:t>hấp</a:t>
            </a:r>
            <a:r>
              <a:rPr lang="vi-VN" dirty="0"/>
              <a:t> — &gt; </a:t>
            </a:r>
            <a:r>
              <a:rPr lang="vi-VN" dirty="0" err="1"/>
              <a:t>Luật</a:t>
            </a:r>
            <a:r>
              <a:rPr lang="vi-VN" dirty="0"/>
              <a:t> </a:t>
            </a:r>
            <a:r>
              <a:rPr lang="vi-VN" dirty="0" err="1"/>
              <a:t>Courvoisier-Terrier</a:t>
            </a:r>
            <a:r>
              <a:rPr lang="vi-VN" dirty="0"/>
              <a:t> :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+ </a:t>
            </a:r>
            <a:r>
              <a:rPr lang="vi-VN" dirty="0" err="1"/>
              <a:t>dấu</a:t>
            </a:r>
            <a:r>
              <a:rPr lang="vi-VN" dirty="0"/>
              <a:t> </a:t>
            </a:r>
            <a:r>
              <a:rPr lang="vi-VN" dirty="0" err="1"/>
              <a:t>Courvoisier</a:t>
            </a:r>
            <a:r>
              <a:rPr lang="vi-VN" dirty="0"/>
              <a:t>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01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Tuy</a:t>
            </a:r>
            <a:r>
              <a:rPr lang="en-US" dirty="0"/>
              <a:t> </a:t>
            </a:r>
            <a:r>
              <a:rPr lang="en-US" dirty="0" err="1"/>
              <a:t>các</a:t>
            </a:r>
            <a:r>
              <a:rPr lang="en-US" dirty="0"/>
              <a:t> u </a:t>
            </a:r>
            <a:r>
              <a:rPr lang="en-US" dirty="0" err="1"/>
              <a:t>quanh</a:t>
            </a:r>
            <a:r>
              <a:rPr lang="en-US" dirty="0"/>
              <a:t> </a:t>
            </a:r>
            <a:r>
              <a:rPr lang="en-US" dirty="0" err="1"/>
              <a:t>bóng</a:t>
            </a:r>
            <a:r>
              <a:rPr lang="en-US" dirty="0"/>
              <a:t> </a:t>
            </a:r>
            <a:r>
              <a:rPr lang="en-US" dirty="0" err="1"/>
              <a:t>vater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thể</a:t>
            </a:r>
            <a:r>
              <a:rPr lang="en-US" dirty="0"/>
              <a:t> </a:t>
            </a:r>
            <a:r>
              <a:rPr lang="en-US" dirty="0" err="1"/>
              <a:t>phân</a:t>
            </a:r>
            <a:r>
              <a:rPr lang="en-US" dirty="0"/>
              <a:t> </a:t>
            </a:r>
            <a:r>
              <a:rPr lang="en-US" dirty="0" err="1"/>
              <a:t>biệt</a:t>
            </a:r>
            <a:r>
              <a:rPr lang="en-US" dirty="0"/>
              <a:t> </a:t>
            </a:r>
            <a:r>
              <a:rPr lang="en-US" dirty="0" err="1"/>
              <a:t>rạch</a:t>
            </a:r>
            <a:r>
              <a:rPr lang="en-US" dirty="0"/>
              <a:t> </a:t>
            </a:r>
            <a:r>
              <a:rPr lang="en-US" dirty="0" err="1"/>
              <a:t>ròi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</a:t>
            </a:r>
            <a:r>
              <a:rPr lang="en-US" dirty="0" err="1"/>
              <a:t>lâm</a:t>
            </a:r>
            <a:r>
              <a:rPr lang="en-US" dirty="0"/>
              <a:t> </a:t>
            </a:r>
            <a:r>
              <a:rPr lang="en-US" dirty="0" err="1"/>
              <a:t>sàng</a:t>
            </a:r>
            <a:r>
              <a:rPr lang="en-US" dirty="0"/>
              <a:t>, </a:t>
            </a:r>
            <a:r>
              <a:rPr lang="en-US" dirty="0" err="1"/>
              <a:t>tuy</a:t>
            </a:r>
            <a:r>
              <a:rPr lang="en-US" dirty="0"/>
              <a:t> </a:t>
            </a:r>
            <a:r>
              <a:rPr lang="en-US" dirty="0" err="1"/>
              <a:t>nhiên</a:t>
            </a:r>
            <a:r>
              <a:rPr lang="en-US" dirty="0"/>
              <a:t>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thể</a:t>
            </a:r>
            <a:r>
              <a:rPr lang="en-US" dirty="0"/>
              <a:t> </a:t>
            </a:r>
            <a:r>
              <a:rPr lang="en-US" dirty="0" err="1"/>
              <a:t>gợi</a:t>
            </a:r>
            <a:r>
              <a:rPr lang="en-US" dirty="0"/>
              <a:t> ý qua </a:t>
            </a:r>
            <a:r>
              <a:rPr lang="en-US" dirty="0" err="1"/>
              <a:t>bệnh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từng</a:t>
            </a:r>
            <a:r>
              <a:rPr lang="en-US" dirty="0"/>
              <a:t> </a:t>
            </a:r>
            <a:r>
              <a:rPr lang="en-US" dirty="0" err="1"/>
              <a:t>bệnh</a:t>
            </a:r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1169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Khi nghi ngờ u quanh bóng vater, để chẩn đoán xác định chúng ta cần các cận lâm sàng, trong đó, có vai trò quan trọng là các CLS hình ảnh</a:t>
            </a:r>
          </a:p>
          <a:p>
            <a:r>
              <a:rPr lang="vi-VN"/>
              <a:t>Các XN máu sinh hóa có vai trò đánh giá biến chứng, các marker UT có vai trờ tiên lượng và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CD8BC6-B59B-4C55-9773-B2375864C73E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04256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 err="1"/>
              <a:t>Cũng</a:t>
            </a:r>
            <a:r>
              <a:rPr lang="vi-VN" dirty="0"/>
              <a:t> tăng trong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bệnh</a:t>
            </a:r>
            <a:r>
              <a:rPr lang="vi-VN" dirty="0"/>
              <a:t> </a:t>
            </a:r>
            <a:r>
              <a:rPr lang="vi-VN" dirty="0" err="1"/>
              <a:t>lành</a:t>
            </a:r>
            <a:r>
              <a:rPr lang="vi-VN" dirty="0"/>
              <a:t> </a:t>
            </a:r>
            <a:r>
              <a:rPr lang="vi-VN" dirty="0" err="1"/>
              <a:t>tính</a:t>
            </a:r>
            <a:r>
              <a:rPr lang="vi-VN" dirty="0"/>
              <a:t> </a:t>
            </a:r>
            <a:r>
              <a:rPr lang="vi-VN" dirty="0" err="1"/>
              <a:t>khác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</a:t>
            </a:r>
            <a:r>
              <a:rPr lang="vi-VN" dirty="0" err="1"/>
              <a:t>tụy</a:t>
            </a:r>
            <a:r>
              <a:rPr lang="vi-VN" dirty="0"/>
              <a:t>, gan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en-US" dirty="0"/>
              <a:t> .</a:t>
            </a:r>
            <a:r>
              <a:rPr lang="vi-VN" dirty="0"/>
              <a:t>10% dân </a:t>
            </a:r>
            <a:r>
              <a:rPr lang="vi-VN" dirty="0" err="1"/>
              <a:t>số</a:t>
            </a:r>
            <a:r>
              <a:rPr lang="vi-VN" dirty="0"/>
              <a:t> không </a:t>
            </a:r>
            <a:r>
              <a:rPr lang="vi-VN" dirty="0" err="1"/>
              <a:t>sản</a:t>
            </a:r>
            <a:r>
              <a:rPr lang="vi-VN" dirty="0"/>
              <a:t> </a:t>
            </a:r>
            <a:r>
              <a:rPr lang="vi-VN" dirty="0" err="1"/>
              <a:t>xuất</a:t>
            </a:r>
            <a:r>
              <a:rPr lang="vi-VN" dirty="0"/>
              <a:t> CA 19.9 do </a:t>
            </a:r>
            <a:r>
              <a:rPr lang="vi-VN" dirty="0" err="1"/>
              <a:t>thiếu</a:t>
            </a:r>
            <a:r>
              <a:rPr lang="vi-VN" dirty="0"/>
              <a:t> </a:t>
            </a:r>
            <a:r>
              <a:rPr lang="vi-VN" dirty="0" err="1"/>
              <a:t>kháng</a:t>
            </a:r>
            <a:r>
              <a:rPr lang="vi-VN" dirty="0"/>
              <a:t> nguyên </a:t>
            </a:r>
            <a:r>
              <a:rPr lang="vi-VN" dirty="0" err="1"/>
              <a:t>Lewis</a:t>
            </a:r>
            <a:endParaRPr lang="en-US" dirty="0"/>
          </a:p>
          <a:p>
            <a:r>
              <a:rPr lang="vi-VN" dirty="0"/>
              <a:t>CA 19-9 </a:t>
            </a:r>
            <a:r>
              <a:rPr lang="vi-VN" dirty="0" err="1"/>
              <a:t>dùng</a:t>
            </a:r>
            <a:r>
              <a:rPr lang="vi-VN" dirty="0"/>
              <a:t> </a:t>
            </a:r>
            <a:r>
              <a:rPr lang="vi-VN" dirty="0" err="1"/>
              <a:t>để</a:t>
            </a:r>
            <a:r>
              <a:rPr lang="vi-VN" dirty="0"/>
              <a:t> </a:t>
            </a:r>
            <a:r>
              <a:rPr lang="vi-VN" dirty="0" err="1"/>
              <a:t>làm</a:t>
            </a:r>
            <a:r>
              <a:rPr lang="vi-VN" dirty="0"/>
              <a:t> </a:t>
            </a:r>
            <a:r>
              <a:rPr lang="vi-VN" dirty="0" err="1"/>
              <a:t>baseline</a:t>
            </a:r>
            <a:r>
              <a:rPr lang="vi-VN" dirty="0"/>
              <a:t> theo </a:t>
            </a:r>
            <a:r>
              <a:rPr lang="vi-VN" dirty="0" err="1"/>
              <a:t>dõi</a:t>
            </a:r>
            <a:r>
              <a:rPr lang="vi-VN" dirty="0"/>
              <a:t> nên đo khi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giải</a:t>
            </a:r>
            <a:r>
              <a:rPr lang="vi-VN" dirty="0"/>
              <a:t> </a:t>
            </a:r>
            <a:r>
              <a:rPr lang="vi-VN" dirty="0" err="1"/>
              <a:t>áp</a:t>
            </a:r>
            <a:r>
              <a:rPr lang="vi-VN" dirty="0"/>
              <a:t>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bilirubin</a:t>
            </a:r>
            <a:r>
              <a:rPr lang="vi-VN" dirty="0"/>
              <a:t> </a:t>
            </a:r>
            <a:r>
              <a:rPr lang="vi-VN" dirty="0" err="1"/>
              <a:t>về</a:t>
            </a:r>
            <a:r>
              <a:rPr lang="vi-VN" dirty="0"/>
              <a:t> </a:t>
            </a:r>
            <a:r>
              <a:rPr lang="vi-VN" dirty="0" err="1"/>
              <a:t>lại</a:t>
            </a:r>
            <a:r>
              <a:rPr lang="vi-VN" dirty="0"/>
              <a:t> </a:t>
            </a:r>
            <a:r>
              <a:rPr lang="vi-VN" dirty="0" err="1"/>
              <a:t>bình</a:t>
            </a:r>
            <a:r>
              <a:rPr lang="vi-VN" dirty="0"/>
              <a:t> </a:t>
            </a:r>
            <a:r>
              <a:rPr lang="vi-VN" dirty="0" err="1"/>
              <a:t>thường</a:t>
            </a:r>
            <a:r>
              <a:rPr lang="vi-VN" dirty="0"/>
              <a:t> </a:t>
            </a:r>
          </a:p>
          <a:p>
            <a:endParaRPr lang="vi-VN" dirty="0"/>
          </a:p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0740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Đánh</a:t>
            </a:r>
            <a:r>
              <a:rPr lang="en-US" dirty="0"/>
              <a:t> </a:t>
            </a:r>
            <a:r>
              <a:rPr lang="en-US" dirty="0" err="1"/>
              <a:t>giá</a:t>
            </a:r>
            <a:r>
              <a:rPr lang="en-US" dirty="0"/>
              <a:t> SDD </a:t>
            </a:r>
            <a:r>
              <a:rPr lang="en-US" dirty="0" err="1"/>
              <a:t>sớm</a:t>
            </a:r>
            <a:r>
              <a:rPr lang="en-US" dirty="0"/>
              <a:t> </a:t>
            </a:r>
            <a:r>
              <a:rPr lang="en-US" dirty="0" err="1"/>
              <a:t>nhất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chính</a:t>
            </a:r>
            <a:r>
              <a:rPr lang="en-US" dirty="0"/>
              <a:t> </a:t>
            </a:r>
            <a:r>
              <a:rPr lang="en-US" dirty="0" err="1"/>
              <a:t>xác</a:t>
            </a:r>
            <a:r>
              <a:rPr lang="en-US" dirty="0"/>
              <a:t> </a:t>
            </a:r>
            <a:r>
              <a:rPr lang="en-US" dirty="0" err="1"/>
              <a:t>dựa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pre-albumin </a:t>
            </a:r>
            <a:r>
              <a:rPr lang="en-US" dirty="0" err="1"/>
              <a:t>máu</a:t>
            </a:r>
            <a:r>
              <a:rPr lang="en-US" dirty="0"/>
              <a:t>. </a:t>
            </a:r>
            <a:r>
              <a:rPr lang="en-US" dirty="0" err="1"/>
              <a:t>Bình</a:t>
            </a:r>
            <a:r>
              <a:rPr lang="en-US" dirty="0"/>
              <a:t> </a:t>
            </a:r>
            <a:r>
              <a:rPr lang="en-US" dirty="0" err="1"/>
              <a:t>thường</a:t>
            </a:r>
            <a:r>
              <a:rPr lang="en-US" dirty="0"/>
              <a:t> 10-20mg%</a:t>
            </a:r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6E6F01-6A14-44A1-A9A9-8DCCB4A659F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521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êu đề Bản chiế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B2772AD-C9D8-8C4D-D686-6ED01D0779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Tiêu đề phụ 2">
            <a:extLst>
              <a:ext uri="{FF2B5EF4-FFF2-40B4-BE49-F238E27FC236}">
                <a16:creationId xmlns:a16="http://schemas.microsoft.com/office/drawing/2014/main" id="{00B64D0C-2777-6FFF-B67A-5F64BE1D6B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vi-VN"/>
              <a:t>Bấm để chỉnh sửa kiểu tiêu đề phụ của Bản cái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AA68BB55-F90D-76EF-B3EF-5E4F03126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953089A8-3C35-33A1-7054-E1E1294B9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F5541FCF-2F7E-0C20-617A-8358B019F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942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êu đề và Văn bản Dọ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193E04-0A77-CDED-42D2-D487B41DC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Dọc 2">
            <a:extLst>
              <a:ext uri="{FF2B5EF4-FFF2-40B4-BE49-F238E27FC236}">
                <a16:creationId xmlns:a16="http://schemas.microsoft.com/office/drawing/2014/main" id="{B2BDE6C1-19AB-1B33-6944-21350339D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410262C0-7BC7-BD82-CC37-AD5F2D829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F620C24F-3E11-04A3-D56C-F89ADFCB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8C9075F0-E4F3-D76B-BA09-34856E8B7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09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êu đề Dọc và Văn bả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Dọc 1">
            <a:extLst>
              <a:ext uri="{FF2B5EF4-FFF2-40B4-BE49-F238E27FC236}">
                <a16:creationId xmlns:a16="http://schemas.microsoft.com/office/drawing/2014/main" id="{21574E0D-F430-3DF9-AE9F-D56EBDC7EA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Dọc 2">
            <a:extLst>
              <a:ext uri="{FF2B5EF4-FFF2-40B4-BE49-F238E27FC236}">
                <a16:creationId xmlns:a16="http://schemas.microsoft.com/office/drawing/2014/main" id="{81CFE858-6089-9E3D-67F2-D3F90A305E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B378B61D-D968-3390-A73D-5239F8221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853CA484-0D2F-D935-8946-B92091410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4CCBCFC9-F5B4-146E-78DE-EB2E75DEC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1327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êu đề Bản chiế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vi-VN"/>
              <a:t>Bấm để chỉnh sửa kiểu tiêu đề phụ của Bản cái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653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2B8356-6620-4867-9E08-4E2775B00A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766D0C-8515-49A2-B6F0-95C1AAFE0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C11290-B525-43AA-9B2B-DE76FD6A7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61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652C67-F2E9-4A9E-99B0-6990E3A7DF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4FB625-F4C8-427C-80E0-AA0E71756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93234B-884A-4601-84EB-5F7FE4C39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182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2560198A-3703-969C-00F5-9381EB516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131969BF-24F5-851D-D78C-A9101E1660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CE3FF5A5-6B99-1FC0-5C67-92E2C03114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9EA806E1-F910-8DAA-A464-5243606EA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B2173194-7219-02C9-C113-AA3D01B24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479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Đầu trang của Phầ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B807D3C-6701-6DC4-36C9-E8E4F5EC9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2">
            <a:extLst>
              <a:ext uri="{FF2B5EF4-FFF2-40B4-BE49-F238E27FC236}">
                <a16:creationId xmlns:a16="http://schemas.microsoft.com/office/drawing/2014/main" id="{E95954A8-4874-200D-35C2-3D02B6EE51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59073F66-777A-62CE-2588-DDA49CF1D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8ABA150C-A71F-9318-4EDF-FC2492D8E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29143908-6B3B-D52F-60CD-26045A238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22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i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02957E8B-1A30-98F3-896A-9A75285E4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5565E089-4F1E-6702-6111-1EA338E342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ội dung 3">
            <a:extLst>
              <a:ext uri="{FF2B5EF4-FFF2-40B4-BE49-F238E27FC236}">
                <a16:creationId xmlns:a16="http://schemas.microsoft.com/office/drawing/2014/main" id="{72267220-FBBB-91E4-6938-11DCC16E3C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5" name="Chỗ dành sẵn cho Ngày tháng 4">
            <a:extLst>
              <a:ext uri="{FF2B5EF4-FFF2-40B4-BE49-F238E27FC236}">
                <a16:creationId xmlns:a16="http://schemas.microsoft.com/office/drawing/2014/main" id="{265128EB-51E1-7E46-D51A-E01D334D0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6" name="Chỗ dành sẵn cho Chân trang 5">
            <a:extLst>
              <a:ext uri="{FF2B5EF4-FFF2-40B4-BE49-F238E27FC236}">
                <a16:creationId xmlns:a16="http://schemas.microsoft.com/office/drawing/2014/main" id="{D4B033EA-226F-7585-31AF-BFA0D02B6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hỗ dành sẵn cho Số hiệu Bản chiếu 6">
            <a:extLst>
              <a:ext uri="{FF2B5EF4-FFF2-40B4-BE49-F238E27FC236}">
                <a16:creationId xmlns:a16="http://schemas.microsoft.com/office/drawing/2014/main" id="{35E80640-DE55-707F-C5C8-B42FB1C32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3246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hép so sá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AE4B1E52-E239-A2E2-D204-9DEAF3C06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2">
            <a:extLst>
              <a:ext uri="{FF2B5EF4-FFF2-40B4-BE49-F238E27FC236}">
                <a16:creationId xmlns:a16="http://schemas.microsoft.com/office/drawing/2014/main" id="{60EA6E5E-45DE-05A1-9399-453BAEAC11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4" name="Chỗ dành sẵn cho Nội dung 3">
            <a:extLst>
              <a:ext uri="{FF2B5EF4-FFF2-40B4-BE49-F238E27FC236}">
                <a16:creationId xmlns:a16="http://schemas.microsoft.com/office/drawing/2014/main" id="{1EB97951-BFA2-EE34-237D-568A9A1E9F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5" name="Chỗ dành sẵn cho Văn bản 4">
            <a:extLst>
              <a:ext uri="{FF2B5EF4-FFF2-40B4-BE49-F238E27FC236}">
                <a16:creationId xmlns:a16="http://schemas.microsoft.com/office/drawing/2014/main" id="{A8588391-CDA9-18E5-3BC7-4A9A211684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6" name="Chỗ dành sẵn cho Nội dung 5">
            <a:extLst>
              <a:ext uri="{FF2B5EF4-FFF2-40B4-BE49-F238E27FC236}">
                <a16:creationId xmlns:a16="http://schemas.microsoft.com/office/drawing/2014/main" id="{35952728-4804-EE9D-C58F-DB20947B7F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7" name="Chỗ dành sẵn cho Ngày tháng 6">
            <a:extLst>
              <a:ext uri="{FF2B5EF4-FFF2-40B4-BE49-F238E27FC236}">
                <a16:creationId xmlns:a16="http://schemas.microsoft.com/office/drawing/2014/main" id="{18D6530F-A42D-B6B7-256C-3E4AFDEBE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8" name="Chỗ dành sẵn cho Chân trang 7">
            <a:extLst>
              <a:ext uri="{FF2B5EF4-FFF2-40B4-BE49-F238E27FC236}">
                <a16:creationId xmlns:a16="http://schemas.microsoft.com/office/drawing/2014/main" id="{C90A4AD5-2012-4AA7-4DEF-1CE12E287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hỗ dành sẵn cho Số hiệu Bản chiếu 8">
            <a:extLst>
              <a:ext uri="{FF2B5EF4-FFF2-40B4-BE49-F238E27FC236}">
                <a16:creationId xmlns:a16="http://schemas.microsoft.com/office/drawing/2014/main" id="{50BD5A86-972C-C7CC-E0BF-C942339A07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969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hỉ Tiêu đê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89EA93BF-D7C5-8B40-0413-82B22677C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gày tháng 2">
            <a:extLst>
              <a:ext uri="{FF2B5EF4-FFF2-40B4-BE49-F238E27FC236}">
                <a16:creationId xmlns:a16="http://schemas.microsoft.com/office/drawing/2014/main" id="{4B5FDF0D-2044-4CDE-AEE5-F49CC7391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4" name="Chỗ dành sẵn cho Chân trang 3">
            <a:extLst>
              <a:ext uri="{FF2B5EF4-FFF2-40B4-BE49-F238E27FC236}">
                <a16:creationId xmlns:a16="http://schemas.microsoft.com/office/drawing/2014/main" id="{E0CD9334-4B1C-E083-3A72-D2D0AAC40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hỗ dành sẵn cho Số hiệu Bản chiếu 4">
            <a:extLst>
              <a:ext uri="{FF2B5EF4-FFF2-40B4-BE49-F238E27FC236}">
                <a16:creationId xmlns:a16="http://schemas.microsoft.com/office/drawing/2014/main" id="{A34B5361-E2E2-72F7-2C35-FA3D721B3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804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rố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Ngày tháng 1">
            <a:extLst>
              <a:ext uri="{FF2B5EF4-FFF2-40B4-BE49-F238E27FC236}">
                <a16:creationId xmlns:a16="http://schemas.microsoft.com/office/drawing/2014/main" id="{989EC1CB-A2C4-24C9-8768-6802985A8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3" name="Chỗ dành sẵn cho Chân trang 2">
            <a:extLst>
              <a:ext uri="{FF2B5EF4-FFF2-40B4-BE49-F238E27FC236}">
                <a16:creationId xmlns:a16="http://schemas.microsoft.com/office/drawing/2014/main" id="{2520A1B5-1BE0-0616-AE0C-746B43DF5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hỗ dành sẵn cho Số hiệu Bản chiếu 3">
            <a:extLst>
              <a:ext uri="{FF2B5EF4-FFF2-40B4-BE49-F238E27FC236}">
                <a16:creationId xmlns:a16="http://schemas.microsoft.com/office/drawing/2014/main" id="{2C7EC80C-C077-F63C-1E61-BAA8AFC64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250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Nội dung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34137B63-F411-49B3-3B7C-7AD31DA2B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3F3F501A-451D-A5C6-5535-02CE4C026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Văn bản 3">
            <a:extLst>
              <a:ext uri="{FF2B5EF4-FFF2-40B4-BE49-F238E27FC236}">
                <a16:creationId xmlns:a16="http://schemas.microsoft.com/office/drawing/2014/main" id="{CB09474C-E029-B321-C841-7C8C1FB850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Chỗ dành sẵn cho Ngày tháng 4">
            <a:extLst>
              <a:ext uri="{FF2B5EF4-FFF2-40B4-BE49-F238E27FC236}">
                <a16:creationId xmlns:a16="http://schemas.microsoft.com/office/drawing/2014/main" id="{6C2B1FF5-F78B-CC87-703A-78190BA04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6" name="Chỗ dành sẵn cho Chân trang 5">
            <a:extLst>
              <a:ext uri="{FF2B5EF4-FFF2-40B4-BE49-F238E27FC236}">
                <a16:creationId xmlns:a16="http://schemas.microsoft.com/office/drawing/2014/main" id="{A0055A88-BF35-67A4-AB54-5889E38E8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hỗ dành sẵn cho Số hiệu Bản chiếu 6">
            <a:extLst>
              <a:ext uri="{FF2B5EF4-FFF2-40B4-BE49-F238E27FC236}">
                <a16:creationId xmlns:a16="http://schemas.microsoft.com/office/drawing/2014/main" id="{2874DD92-9BB2-43B7-D3A2-6B80B9A7B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022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̉nh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8EC989F6-320B-CFB1-EB21-EB9569351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Hình ảnh 2">
            <a:extLst>
              <a:ext uri="{FF2B5EF4-FFF2-40B4-BE49-F238E27FC236}">
                <a16:creationId xmlns:a16="http://schemas.microsoft.com/office/drawing/2014/main" id="{971AEA5F-8F4F-80D3-A1A5-2B4383597A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Chỗ dành sẵn cho Văn bản 3">
            <a:extLst>
              <a:ext uri="{FF2B5EF4-FFF2-40B4-BE49-F238E27FC236}">
                <a16:creationId xmlns:a16="http://schemas.microsoft.com/office/drawing/2014/main" id="{7A62D0A1-CCA6-E921-8276-A6B2CD7EE6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Chỗ dành sẵn cho Ngày tháng 4">
            <a:extLst>
              <a:ext uri="{FF2B5EF4-FFF2-40B4-BE49-F238E27FC236}">
                <a16:creationId xmlns:a16="http://schemas.microsoft.com/office/drawing/2014/main" id="{71FFE958-90C4-0D60-2B76-15C8355C9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6" name="Chỗ dành sẵn cho Chân trang 5">
            <a:extLst>
              <a:ext uri="{FF2B5EF4-FFF2-40B4-BE49-F238E27FC236}">
                <a16:creationId xmlns:a16="http://schemas.microsoft.com/office/drawing/2014/main" id="{90A83C71-F12F-F9AD-8C5F-029FA1CAC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hỗ dành sẵn cho Số hiệu Bản chiếu 6">
            <a:extLst>
              <a:ext uri="{FF2B5EF4-FFF2-40B4-BE49-F238E27FC236}">
                <a16:creationId xmlns:a16="http://schemas.microsoft.com/office/drawing/2014/main" id="{5B30F1EF-2EFE-7EA4-1435-6217DF322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524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Tiêu đề 1">
            <a:extLst>
              <a:ext uri="{FF2B5EF4-FFF2-40B4-BE49-F238E27FC236}">
                <a16:creationId xmlns:a16="http://schemas.microsoft.com/office/drawing/2014/main" id="{F3F07C59-EA08-BF30-5F66-EB5996E4C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2">
            <a:extLst>
              <a:ext uri="{FF2B5EF4-FFF2-40B4-BE49-F238E27FC236}">
                <a16:creationId xmlns:a16="http://schemas.microsoft.com/office/drawing/2014/main" id="{1749318E-E3FD-059E-435E-E664F5BA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5AE31AEF-DCD7-33AD-C00D-661B81AA3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E69C15-80C7-44E5-905B-20236CA87B6C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6C3BDDCB-AAF9-8AC9-3E3D-4F906A98E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A5E41A8A-318B-5806-D13B-963FFCB5CC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0DE18-2D7C-4052-94F4-C6CE3DBD61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034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70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FBFAF85-75C5-481B-95B6-4D0E916F2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FBFAF85-75C5-481B-95B6-4D0E916F2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1FBB620-8C3E-4852-94CC-44BC3CB28D2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FFCC6A-3796-4EE7-B7B9-83766E19D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125"/>
            <a:ext cx="11201400" cy="866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21BDD8-DA7E-402E-BDA8-ECAE2E1608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409700"/>
            <a:ext cx="11201400" cy="48675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B28253-505D-4660-82E0-8414138185BD}"/>
              </a:ext>
            </a:extLst>
          </p:cNvPr>
          <p:cNvSpPr/>
          <p:nvPr userDrawn="1"/>
        </p:nvSpPr>
        <p:spPr>
          <a:xfrm>
            <a:off x="11315383" y="6438105"/>
            <a:ext cx="381317" cy="365125"/>
          </a:xfrm>
          <a:prstGeom prst="rect">
            <a:avLst/>
          </a:prstGeom>
          <a:solidFill>
            <a:srgbClr val="564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1696C2-3B2A-4285-A039-430054E60C72}"/>
              </a:ext>
            </a:extLst>
          </p:cNvPr>
          <p:cNvSpPr/>
          <p:nvPr userDrawn="1"/>
        </p:nvSpPr>
        <p:spPr>
          <a:xfrm>
            <a:off x="11315383" y="6803230"/>
            <a:ext cx="381317" cy="64295"/>
          </a:xfrm>
          <a:prstGeom prst="rect">
            <a:avLst/>
          </a:prstGeom>
          <a:solidFill>
            <a:srgbClr val="1019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2094FC-A2CB-46FD-9713-9A510F609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5382" y="6438105"/>
            <a:ext cx="381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6F4BE6A-5C7D-4940-BC35-BD32E2BF2E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615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6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BF3092-2DDC-4D76-AE7A-EC6EFD6DB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9BF3092-2DDC-4D76-AE7A-EC6EFD6DB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3FD26A8-10CA-4EAC-812F-1EF385618C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40BD2E-BDF1-448D-933C-64819BD13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AEDCD9-00B1-4D61-B490-86E6DD1AE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E51F7-30CA-4C9A-91E4-608969E6E5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88900-C735-4CEB-9CBA-8F2221E8E507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D8EEA7-EA25-45CB-BEDC-1F7B9A908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6C25C-E6F2-485B-BF7B-7267F2A82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426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926CBA7C-26A2-1475-5590-FF5E093CDF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êu đề phụ 2">
            <a:extLst>
              <a:ext uri="{FF2B5EF4-FFF2-40B4-BE49-F238E27FC236}">
                <a16:creationId xmlns:a16="http://schemas.microsoft.com/office/drawing/2014/main" id="{3556EB68-6C5F-A601-6E12-0D0BF0F883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758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2DCA1-6A7D-46A7-A89B-769FC3023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2DCA1-6A7D-46A7-A89B-769FC3023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2D549802-FEF1-46C0-B711-B5DA0426126D}"/>
              </a:ext>
            </a:extLst>
          </p:cNvPr>
          <p:cNvSpPr txBox="1"/>
          <p:nvPr/>
        </p:nvSpPr>
        <p:spPr>
          <a:xfrm rot="10800000" flipH="1" flipV="1">
            <a:off x="-1" y="0"/>
            <a:ext cx="3841959" cy="2809875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sym typeface="Calibri" panose="020F0502020204030204" pitchFamily="34" charset="0"/>
            </a:endParaRPr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97893D96-EBB8-6922-733A-6B22C189EFD9}"/>
              </a:ext>
            </a:extLst>
          </p:cNvPr>
          <p:cNvSpPr txBox="1">
            <a:spLocks/>
          </p:cNvSpPr>
          <p:nvPr/>
        </p:nvSpPr>
        <p:spPr>
          <a:xfrm>
            <a:off x="701743" y="731853"/>
            <a:ext cx="3206006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3200" b="1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II.CHẨN ĐOÁN</a:t>
            </a:r>
          </a:p>
        </p:txBody>
      </p:sp>
      <p:sp>
        <p:nvSpPr>
          <p:cNvPr id="5" name="Hộp Văn bản 4">
            <a:extLst>
              <a:ext uri="{FF2B5EF4-FFF2-40B4-BE49-F238E27FC236}">
                <a16:creationId xmlns:a16="http://schemas.microsoft.com/office/drawing/2014/main" id="{B07C2C8F-AB3C-66A3-B383-DC7E4A8E976D}"/>
              </a:ext>
            </a:extLst>
          </p:cNvPr>
          <p:cNvSpPr txBox="1"/>
          <p:nvPr/>
        </p:nvSpPr>
        <p:spPr>
          <a:xfrm>
            <a:off x="964581" y="1664493"/>
            <a:ext cx="3574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.CẬN LÂM SÀNG</a:t>
            </a:r>
            <a:endParaRPr lang="vi-VN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Nhóm 18">
            <a:extLst>
              <a:ext uri="{FF2B5EF4-FFF2-40B4-BE49-F238E27FC236}">
                <a16:creationId xmlns:a16="http://schemas.microsoft.com/office/drawing/2014/main" id="{6A6E6379-868C-2BBE-C5FA-1A7B481B2C63}"/>
              </a:ext>
            </a:extLst>
          </p:cNvPr>
          <p:cNvGrpSpPr/>
          <p:nvPr/>
        </p:nvGrpSpPr>
        <p:grpSpPr>
          <a:xfrm>
            <a:off x="5146962" y="1388102"/>
            <a:ext cx="5074252" cy="2769989"/>
            <a:chOff x="4885738" y="1404938"/>
            <a:chExt cx="5074252" cy="2769989"/>
          </a:xfrm>
        </p:grpSpPr>
        <p:grpSp>
          <p:nvGrpSpPr>
            <p:cNvPr id="7" name="Nhóm 6">
              <a:extLst>
                <a:ext uri="{FF2B5EF4-FFF2-40B4-BE49-F238E27FC236}">
                  <a16:creationId xmlns:a16="http://schemas.microsoft.com/office/drawing/2014/main" id="{94C20AB2-EEC5-10ED-8C80-C2D2822D22C6}"/>
                </a:ext>
              </a:extLst>
            </p:cNvPr>
            <p:cNvGrpSpPr/>
            <p:nvPr/>
          </p:nvGrpSpPr>
          <p:grpSpPr>
            <a:xfrm>
              <a:off x="4885738" y="1404938"/>
              <a:ext cx="5074252" cy="2769989"/>
              <a:chOff x="798182" y="4416446"/>
              <a:chExt cx="5074252" cy="2769989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01A9A2A5-D0EB-4F60-A8F2-C12DE743E8A8}"/>
                  </a:ext>
                </a:extLst>
              </p:cNvPr>
              <p:cNvSpPr txBox="1"/>
              <p:nvPr/>
            </p:nvSpPr>
            <p:spPr>
              <a:xfrm>
                <a:off x="798182" y="4447662"/>
                <a:ext cx="826299" cy="826299"/>
              </a:xfrm>
              <a:prstGeom prst="ellipse">
                <a:avLst/>
              </a:prstGeom>
              <a:noFill/>
              <a:ln w="19050">
                <a:solidFill>
                  <a:srgbClr val="FFC000"/>
                </a:solidFill>
              </a:ln>
              <a:effectLst>
                <a:outerShdw blurRad="254000" dist="38100" dir="2700000" algn="tl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indent="-45720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0" lvl="1" indent="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buFont typeface="Arial" panose="020B0604020202020204" pitchFamily="34" charset="0"/>
                  <a:buNone/>
                  <a:defRPr>
                    <a:latin typeface="Calibri" panose="020F0502020204030204" pitchFamily="34" charset="0"/>
                  </a:defRPr>
                </a:lvl2pPr>
                <a:lvl3pPr marL="685800" lvl="2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lvl="1"/>
                <a:endParaRPr lang="en-ID">
                  <a:latin typeface="Arial" panose="020B0604020202020204" pitchFamily="34" charset="0"/>
                  <a:cs typeface="Arial" panose="020B060402020202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309DB34-0EDD-4F3D-A2D1-DB0DF9A25982}"/>
                  </a:ext>
                </a:extLst>
              </p:cNvPr>
              <p:cNvSpPr txBox="1"/>
              <p:nvPr/>
            </p:nvSpPr>
            <p:spPr>
              <a:xfrm>
                <a:off x="926099" y="4573412"/>
                <a:ext cx="574800" cy="574800"/>
              </a:xfrm>
              <a:prstGeom prst="ellipse">
                <a:avLst/>
              </a:prstGeom>
              <a:gradFill>
                <a:gsLst>
                  <a:gs pos="10000">
                    <a:srgbClr val="51A7C2"/>
                  </a:gs>
                  <a:gs pos="100000">
                    <a:srgbClr val="B5F6DA"/>
                  </a:gs>
                </a:gsLst>
                <a:lin ang="2700000" scaled="0"/>
              </a:gradFill>
              <a:ln>
                <a:noFill/>
              </a:ln>
              <a:effectLst>
                <a:outerShdw blurRad="190500" dist="38100" dir="2700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indent="-45720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0" lvl="1" indent="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buFont typeface="Arial" panose="020B0604020202020204" pitchFamily="34" charset="0"/>
                  <a:buNone/>
                  <a:defRPr>
                    <a:latin typeface="Calibri" panose="020F0502020204030204" pitchFamily="34" charset="0"/>
                  </a:defRPr>
                </a:lvl2pPr>
                <a:lvl3pPr marL="685800" lvl="2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lvl="1"/>
                <a:endParaRPr lang="en-ID">
                  <a:latin typeface="Arial" panose="020B0604020202020204" pitchFamily="34" charset="0"/>
                  <a:cs typeface="Arial" panose="020B060402020202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7AF3D00D-65D2-422F-9E7C-A39D55335265}"/>
                  </a:ext>
                </a:extLst>
              </p:cNvPr>
              <p:cNvSpPr/>
              <p:nvPr/>
            </p:nvSpPr>
            <p:spPr>
              <a:xfrm>
                <a:off x="1841811" y="4416446"/>
                <a:ext cx="4030623" cy="2769989"/>
              </a:xfrm>
              <a:prstGeom prst="rect">
                <a:avLst/>
              </a:prstGeom>
            </p:spPr>
            <p:txBody>
              <a:bodyPr wrap="square" lIns="0" tIns="0" rIns="0" bIns="0" anchor="t">
                <a:spAutoFit/>
              </a:bodyPr>
              <a:lstStyle/>
              <a:p>
                <a:r>
                  <a:rPr lang="vi-VN" sz="2000" b="0" i="0" u="sng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XN máu và sinh hóa: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- Billirubin TP/TT, ALP, AST, ALT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- Chức năng đông máu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- Đánh giá dinh dưỡng: albumin máu,pre-albumin máu, ion đồ, công thức máu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- Viêm đường mật: Bạch cầu, CRP.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- Amylase, lipase máu (nếu có đau thượng vị). </a:t>
                </a:r>
              </a:p>
            </p:txBody>
          </p:sp>
        </p:grpSp>
        <p:pic>
          <p:nvPicPr>
            <p:cNvPr id="18" name="Đồ họa 17" descr="Water outline">
              <a:extLst>
                <a:ext uri="{FF2B5EF4-FFF2-40B4-BE49-F238E27FC236}">
                  <a16:creationId xmlns:a16="http://schemas.microsoft.com/office/drawing/2014/main" id="{EFBECABE-7F4C-A75C-CCC1-D94CD665C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72939" y="1621188"/>
              <a:ext cx="456232" cy="456232"/>
            </a:xfrm>
            <a:prstGeom prst="rect">
              <a:avLst/>
            </a:prstGeom>
          </p:spPr>
        </p:pic>
      </p:grpSp>
      <p:grpSp>
        <p:nvGrpSpPr>
          <p:cNvPr id="43" name="Nhóm 42">
            <a:extLst>
              <a:ext uri="{FF2B5EF4-FFF2-40B4-BE49-F238E27FC236}">
                <a16:creationId xmlns:a16="http://schemas.microsoft.com/office/drawing/2014/main" id="{0A7FA395-D520-AA45-784E-B19619E8DAFB}"/>
              </a:ext>
            </a:extLst>
          </p:cNvPr>
          <p:cNvGrpSpPr/>
          <p:nvPr/>
        </p:nvGrpSpPr>
        <p:grpSpPr>
          <a:xfrm>
            <a:off x="516321" y="2931367"/>
            <a:ext cx="4241349" cy="3385542"/>
            <a:chOff x="516321" y="2931367"/>
            <a:chExt cx="4241349" cy="3385542"/>
          </a:xfrm>
        </p:grpSpPr>
        <p:grpSp>
          <p:nvGrpSpPr>
            <p:cNvPr id="14" name="Nhóm 13">
              <a:extLst>
                <a:ext uri="{FF2B5EF4-FFF2-40B4-BE49-F238E27FC236}">
                  <a16:creationId xmlns:a16="http://schemas.microsoft.com/office/drawing/2014/main" id="{CC465378-7AA3-0A1C-EC81-2E22B1B6D13F}"/>
                </a:ext>
              </a:extLst>
            </p:cNvPr>
            <p:cNvGrpSpPr/>
            <p:nvPr/>
          </p:nvGrpSpPr>
          <p:grpSpPr>
            <a:xfrm>
              <a:off x="516321" y="2931367"/>
              <a:ext cx="4241349" cy="3385542"/>
              <a:chOff x="756775" y="2561502"/>
              <a:chExt cx="4241349" cy="3385542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7E46DB2-8203-4EEB-9486-E9D877900276}"/>
                  </a:ext>
                </a:extLst>
              </p:cNvPr>
              <p:cNvSpPr txBox="1"/>
              <p:nvPr/>
            </p:nvSpPr>
            <p:spPr>
              <a:xfrm>
                <a:off x="756775" y="2579239"/>
                <a:ext cx="826299" cy="826299"/>
              </a:xfrm>
              <a:prstGeom prst="ellipse">
                <a:avLst/>
              </a:prstGeom>
              <a:noFill/>
              <a:ln w="19050">
                <a:solidFill>
                  <a:srgbClr val="FFC000"/>
                </a:solidFill>
              </a:ln>
              <a:effectLst>
                <a:outerShdw blurRad="254000" dist="38100" dir="2700000" algn="tl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indent="-45720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0" lvl="1" indent="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buFont typeface="Arial" panose="020B0604020202020204" pitchFamily="34" charset="0"/>
                  <a:buNone/>
                  <a:defRPr>
                    <a:latin typeface="Calibri" panose="020F0502020204030204" pitchFamily="34" charset="0"/>
                  </a:defRPr>
                </a:lvl2pPr>
                <a:lvl3pPr marL="685800" lvl="2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lvl="1"/>
                <a:endParaRPr lang="en-ID">
                  <a:latin typeface="Arial" panose="020B0604020202020204" pitchFamily="34" charset="0"/>
                  <a:cs typeface="Arial" panose="020B060402020202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C34A67EC-5067-494A-B71E-4BA9C1CA98FF}"/>
                  </a:ext>
                </a:extLst>
              </p:cNvPr>
              <p:cNvSpPr txBox="1"/>
              <p:nvPr/>
            </p:nvSpPr>
            <p:spPr>
              <a:xfrm>
                <a:off x="882525" y="2704989"/>
                <a:ext cx="574800" cy="574800"/>
              </a:xfrm>
              <a:prstGeom prst="ellipse">
                <a:avLst/>
              </a:prstGeom>
              <a:gradFill>
                <a:gsLst>
                  <a:gs pos="10000">
                    <a:srgbClr val="51A7C2"/>
                  </a:gs>
                  <a:gs pos="100000">
                    <a:srgbClr val="B5F6DA"/>
                  </a:gs>
                </a:gsLst>
                <a:lin ang="2700000" scaled="0"/>
              </a:gradFill>
              <a:ln>
                <a:noFill/>
              </a:ln>
              <a:effectLst>
                <a:outerShdw blurRad="190500" dist="38100" dir="2700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indent="-45720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0" lvl="1" indent="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buFont typeface="Arial" panose="020B0604020202020204" pitchFamily="34" charset="0"/>
                  <a:buNone/>
                  <a:defRPr>
                    <a:latin typeface="Calibri" panose="020F0502020204030204" pitchFamily="34" charset="0"/>
                  </a:defRPr>
                </a:lvl2pPr>
                <a:lvl3pPr marL="685800" lvl="2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lvl="1"/>
                <a:endParaRPr lang="en-ID">
                  <a:latin typeface="Arial" panose="020B0604020202020204" pitchFamily="34" charset="0"/>
                  <a:cs typeface="Arial" panose="020B060402020202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64247D62-5F19-4481-AE75-DCAA35A2CEE7}"/>
                  </a:ext>
                </a:extLst>
              </p:cNvPr>
              <p:cNvSpPr/>
              <p:nvPr/>
            </p:nvSpPr>
            <p:spPr>
              <a:xfrm>
                <a:off x="1841812" y="2561502"/>
                <a:ext cx="3156312" cy="3385542"/>
              </a:xfrm>
              <a:prstGeom prst="rect">
                <a:avLst/>
              </a:prstGeom>
            </p:spPr>
            <p:txBody>
              <a:bodyPr wrap="square" lIns="0" tIns="0" rIns="0" bIns="0" anchor="t">
                <a:spAutoFit/>
              </a:bodyPr>
              <a:lstStyle/>
              <a:p>
                <a:r>
                  <a:rPr lang="vi-VN" sz="2000" b="0" i="0" u="sng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Hình</a:t>
                </a:r>
                <a:r>
                  <a:rPr lang="vi-VN" sz="2000" b="0" i="0" u="sng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u="sng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ảnh</a:t>
                </a:r>
                <a:r>
                  <a:rPr lang="vi-VN" sz="2000" b="0" i="0" u="sng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u="sng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học</a:t>
                </a:r>
                <a:r>
                  <a:rPr lang="vi-VN" sz="2000" b="0" i="0" u="sng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Siêu âm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bụng</a:t>
                </a:r>
                <a:endParaRPr lang="vi-VN" sz="2000" b="0" i="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T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bụng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ó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ản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quang</a:t>
                </a:r>
              </a:p>
              <a:p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hụp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mật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tụy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ngược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dòng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qua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nội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soi (ERCP)</a:t>
                </a:r>
              </a:p>
              <a:p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hụp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ộng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hưởng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từ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mật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tụy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(MRCP)</a:t>
                </a:r>
              </a:p>
              <a:p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Chụp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đường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mật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xuyên gan qua da (PTC)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Siêu âm </a:t>
                </a:r>
                <a:r>
                  <a:rPr lang="vi-VN" sz="2000" b="0" i="0" dirty="0" err="1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nội</a:t>
                </a:r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soi (EUS)</a:t>
                </a:r>
              </a:p>
              <a:p>
                <a:r>
                  <a:rPr lang="vi-VN" sz="2000" b="0" i="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PET/CT</a:t>
                </a:r>
              </a:p>
            </p:txBody>
          </p:sp>
        </p:grpSp>
        <p:pic>
          <p:nvPicPr>
            <p:cNvPr id="42" name="Đồ họa 41" descr="Lights On outline">
              <a:extLst>
                <a:ext uri="{FF2B5EF4-FFF2-40B4-BE49-F238E27FC236}">
                  <a16:creationId xmlns:a16="http://schemas.microsoft.com/office/drawing/2014/main" id="{28E354C3-ABA8-132D-7F72-2B2BB9F37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00870" y="3133653"/>
              <a:ext cx="457200" cy="457200"/>
            </a:xfrm>
            <a:prstGeom prst="rect">
              <a:avLst/>
            </a:prstGeom>
          </p:spPr>
        </p:pic>
      </p:grpSp>
      <p:grpSp>
        <p:nvGrpSpPr>
          <p:cNvPr id="46" name="Nhóm 45">
            <a:extLst>
              <a:ext uri="{FF2B5EF4-FFF2-40B4-BE49-F238E27FC236}">
                <a16:creationId xmlns:a16="http://schemas.microsoft.com/office/drawing/2014/main" id="{AECA549B-1B87-E95C-0EB0-26B6B4639296}"/>
              </a:ext>
            </a:extLst>
          </p:cNvPr>
          <p:cNvGrpSpPr/>
          <p:nvPr/>
        </p:nvGrpSpPr>
        <p:grpSpPr>
          <a:xfrm>
            <a:off x="5590413" y="4597866"/>
            <a:ext cx="5000229" cy="829178"/>
            <a:chOff x="5590413" y="4597866"/>
            <a:chExt cx="5000229" cy="829178"/>
          </a:xfrm>
        </p:grpSpPr>
        <p:grpSp>
          <p:nvGrpSpPr>
            <p:cNvPr id="22" name="Nhóm 21">
              <a:extLst>
                <a:ext uri="{FF2B5EF4-FFF2-40B4-BE49-F238E27FC236}">
                  <a16:creationId xmlns:a16="http://schemas.microsoft.com/office/drawing/2014/main" id="{E43B90B1-21F6-376E-330A-48EED0806766}"/>
                </a:ext>
              </a:extLst>
            </p:cNvPr>
            <p:cNvGrpSpPr/>
            <p:nvPr/>
          </p:nvGrpSpPr>
          <p:grpSpPr>
            <a:xfrm>
              <a:off x="5590413" y="4597866"/>
              <a:ext cx="5000229" cy="829178"/>
              <a:chOff x="798182" y="4447662"/>
              <a:chExt cx="5000229" cy="829178"/>
            </a:xfrm>
          </p:grpSpPr>
          <p:sp>
            <p:nvSpPr>
              <p:cNvPr id="24" name="TextBox 37">
                <a:extLst>
                  <a:ext uri="{FF2B5EF4-FFF2-40B4-BE49-F238E27FC236}">
                    <a16:creationId xmlns:a16="http://schemas.microsoft.com/office/drawing/2014/main" id="{3AA73513-9C3D-117D-F35E-93A7376598A7}"/>
                  </a:ext>
                </a:extLst>
              </p:cNvPr>
              <p:cNvSpPr txBox="1"/>
              <p:nvPr/>
            </p:nvSpPr>
            <p:spPr>
              <a:xfrm>
                <a:off x="798182" y="4447662"/>
                <a:ext cx="826299" cy="826299"/>
              </a:xfrm>
              <a:prstGeom prst="ellipse">
                <a:avLst/>
              </a:prstGeom>
              <a:noFill/>
              <a:ln w="19050">
                <a:solidFill>
                  <a:srgbClr val="FFC000"/>
                </a:solidFill>
              </a:ln>
              <a:effectLst>
                <a:outerShdw blurRad="254000" dist="38100" dir="2700000" algn="tl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indent="-45720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0" lvl="1" indent="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buFont typeface="Arial" panose="020B0604020202020204" pitchFamily="34" charset="0"/>
                  <a:buNone/>
                  <a:defRPr>
                    <a:latin typeface="Calibri" panose="020F0502020204030204" pitchFamily="34" charset="0"/>
                  </a:defRPr>
                </a:lvl2pPr>
                <a:lvl3pPr marL="685800" lvl="2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lvl="1"/>
                <a:endParaRPr lang="en-ID">
                  <a:latin typeface="Arial" panose="020B0604020202020204" pitchFamily="34" charset="0"/>
                  <a:cs typeface="Arial" panose="020B060402020202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TextBox 38">
                <a:extLst>
                  <a:ext uri="{FF2B5EF4-FFF2-40B4-BE49-F238E27FC236}">
                    <a16:creationId xmlns:a16="http://schemas.microsoft.com/office/drawing/2014/main" id="{768C05FE-6974-5F12-D0B9-6C5467EB8C39}"/>
                  </a:ext>
                </a:extLst>
              </p:cNvPr>
              <p:cNvSpPr txBox="1"/>
              <p:nvPr/>
            </p:nvSpPr>
            <p:spPr>
              <a:xfrm>
                <a:off x="926099" y="4573412"/>
                <a:ext cx="574800" cy="574800"/>
              </a:xfrm>
              <a:prstGeom prst="ellipse">
                <a:avLst/>
              </a:prstGeom>
              <a:gradFill>
                <a:gsLst>
                  <a:gs pos="10000">
                    <a:srgbClr val="51A7C2"/>
                  </a:gs>
                  <a:gs pos="100000">
                    <a:srgbClr val="B5F6DA"/>
                  </a:gs>
                </a:gsLst>
                <a:lin ang="2700000" scaled="0"/>
              </a:gradFill>
              <a:ln>
                <a:noFill/>
              </a:ln>
              <a:effectLst>
                <a:outerShdw blurRad="190500" dist="38100" dir="2700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indent="-45720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0" lvl="1" indent="0" algn="ctr">
                  <a:lnSpc>
                    <a:spcPct val="90000"/>
                  </a:lnSpc>
                  <a:spcBef>
                    <a:spcPts val="1000"/>
                  </a:spcBef>
                  <a:buSzPct val="100000"/>
                  <a:buFont typeface="Arial" panose="020B0604020202020204" pitchFamily="34" charset="0"/>
                  <a:buNone/>
                  <a:defRPr>
                    <a:latin typeface="Calibri" panose="020F0502020204030204" pitchFamily="34" charset="0"/>
                  </a:defRPr>
                </a:lvl2pPr>
                <a:lvl3pPr marL="685800" lvl="2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lnSpc>
                    <a:spcPct val="90000"/>
                  </a:lnSpc>
                  <a:spcBef>
                    <a:spcPts val="5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lvl="1"/>
                <a:endParaRPr lang="en-ID">
                  <a:latin typeface="Arial" panose="020B0604020202020204" pitchFamily="34" charset="0"/>
                  <a:cs typeface="Arial" panose="020B060402020202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E9214955-7FDA-6502-D9B4-D09B0ED7D0A1}"/>
                  </a:ext>
                </a:extLst>
              </p:cNvPr>
              <p:cNvSpPr/>
              <p:nvPr/>
            </p:nvSpPr>
            <p:spPr>
              <a:xfrm>
                <a:off x="1767788" y="4661287"/>
                <a:ext cx="4030623" cy="615553"/>
              </a:xfrm>
              <a:prstGeom prst="rect">
                <a:avLst/>
              </a:prstGeom>
            </p:spPr>
            <p:txBody>
              <a:bodyPr wrap="square" lIns="0" tIns="0" rIns="0" bIns="0" anchor="t">
                <a:spAutoFit/>
              </a:bodyPr>
              <a:lstStyle/>
              <a:p>
                <a:r>
                  <a:rPr lang="vi-VN" sz="2000" b="0" i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nb-NO" sz="2000" b="0" i="0" u="sng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Marker ung thư</a:t>
                </a:r>
                <a:r>
                  <a:rPr lang="nb-NO" sz="2000" b="0" i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: CA19-9, CEA</a:t>
                </a:r>
              </a:p>
              <a:p>
                <a:endParaRPr lang="vi-VN" sz="2000" b="0" i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45" name="Đồ họa 44" descr="Bubbles outline">
              <a:extLst>
                <a:ext uri="{FF2B5EF4-FFF2-40B4-BE49-F238E27FC236}">
                  <a16:creationId xmlns:a16="http://schemas.microsoft.com/office/drawing/2014/main" id="{A5D9053A-429D-97F3-E2EE-118E3582A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52575" y="4775452"/>
              <a:ext cx="501974" cy="5019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1693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A75D390-8ABB-5977-27CB-63A22E8E4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7826E55-DC18-F587-D9BA-462C736B80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CẬN LÂM SÀNG : MAKER CA19-9</a:t>
            </a: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ăng trong 75%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ườ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ợp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ng thư quanh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ó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ater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buNone/>
            </a:pP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ạy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c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ao hơn CEA </a:t>
            </a: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 19 – 9 # 37 IU/L: Se 81%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p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90%, PPV 72% </a:t>
            </a: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 19 – 9 &gt; 100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 68%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p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98%, PPV 97%, NPV 89%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i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ạ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ấp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ỏ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o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ớ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&gt;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ầ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oát</a:t>
            </a: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Vai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ín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theo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õi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ên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ợng</a:t>
            </a: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 19-9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ở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ầ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ìn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ườ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a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ẫ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ần</a:t>
            </a: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 19-9 gia tăng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ở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i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khi 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i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át</a:t>
            </a: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o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rius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itz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85xCEA + CA 19-9 &gt; 845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=&gt;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m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ên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ợ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a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ổ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buNone/>
            </a:pP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323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2EFC25D-4F83-5DFC-965B-266EA30E1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2A31054D-28EC-1D42-E020-406176C746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/>
              <a:t>2.CẬN LÂM SÀNG : SINH HÓA</a:t>
            </a:r>
          </a:p>
          <a:p>
            <a:pPr marL="0" indent="0">
              <a:buNone/>
            </a:pPr>
            <a:r>
              <a:rPr lang="vi-VN" dirty="0"/>
              <a:t>*Khi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trạng</a:t>
            </a:r>
            <a:r>
              <a:rPr lang="vi-VN" dirty="0"/>
              <a:t>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Bilirubin</a:t>
            </a:r>
            <a:r>
              <a:rPr lang="vi-VN" dirty="0"/>
              <a:t> TP tăng ưu </a:t>
            </a:r>
            <a:r>
              <a:rPr lang="vi-VN" dirty="0" err="1"/>
              <a:t>thế</a:t>
            </a:r>
            <a:r>
              <a:rPr lang="vi-VN" dirty="0"/>
              <a:t> TT</a:t>
            </a:r>
          </a:p>
          <a:p>
            <a:pPr marL="0" indent="0">
              <a:buNone/>
            </a:pPr>
            <a:r>
              <a:rPr lang="vi-VN" dirty="0"/>
              <a:t>ALP tăng</a:t>
            </a:r>
          </a:p>
          <a:p>
            <a:pPr marL="0" indent="0">
              <a:buNone/>
            </a:pPr>
            <a:r>
              <a:rPr lang="vi-VN" dirty="0"/>
              <a:t>AST, ALT</a:t>
            </a:r>
          </a:p>
          <a:p>
            <a:pPr marL="0" indent="0">
              <a:buNone/>
            </a:pPr>
            <a:r>
              <a:rPr lang="vi-VN" dirty="0"/>
              <a:t>Tăng </a:t>
            </a:r>
            <a:r>
              <a:rPr lang="vi-VN" dirty="0" err="1"/>
              <a:t>nhẹ</a:t>
            </a:r>
            <a:r>
              <a:rPr lang="vi-VN" dirty="0"/>
              <a:t> - TB</a:t>
            </a:r>
          </a:p>
          <a:p>
            <a:pPr marL="0" indent="0">
              <a:buNone/>
            </a:pPr>
            <a:r>
              <a:rPr lang="vi-VN" dirty="0" err="1"/>
              <a:t>Trở</a:t>
            </a:r>
            <a:r>
              <a:rPr lang="vi-VN" dirty="0"/>
              <a:t> </a:t>
            </a:r>
            <a:r>
              <a:rPr lang="vi-VN" dirty="0" err="1"/>
              <a:t>về</a:t>
            </a:r>
            <a:r>
              <a:rPr lang="vi-VN" dirty="0"/>
              <a:t> </a:t>
            </a:r>
            <a:r>
              <a:rPr lang="vi-VN" dirty="0" err="1"/>
              <a:t>gần</a:t>
            </a:r>
            <a:r>
              <a:rPr lang="vi-VN" dirty="0"/>
              <a:t> </a:t>
            </a:r>
            <a:r>
              <a:rPr lang="vi-VN" dirty="0" err="1"/>
              <a:t>bình</a:t>
            </a:r>
            <a:r>
              <a:rPr lang="vi-VN" dirty="0"/>
              <a:t> </a:t>
            </a:r>
            <a:r>
              <a:rPr lang="vi-VN" dirty="0" err="1"/>
              <a:t>thường</a:t>
            </a:r>
            <a:r>
              <a:rPr lang="vi-VN" dirty="0"/>
              <a:t> sau khi </a:t>
            </a:r>
            <a:r>
              <a:rPr lang="vi-VN" dirty="0" err="1"/>
              <a:t>giải</a:t>
            </a:r>
            <a:r>
              <a:rPr lang="vi-VN" dirty="0"/>
              <a:t> </a:t>
            </a:r>
            <a:r>
              <a:rPr lang="vi-VN" dirty="0" err="1"/>
              <a:t>quyết</a:t>
            </a:r>
            <a:r>
              <a:rPr lang="vi-VN" dirty="0"/>
              <a:t>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hiệu</a:t>
            </a:r>
            <a:r>
              <a:rPr lang="vi-VN" dirty="0"/>
              <a:t> </a:t>
            </a:r>
            <a:r>
              <a:rPr lang="vi-VN" dirty="0" err="1"/>
              <a:t>quả</a:t>
            </a:r>
            <a:endParaRPr lang="vi-VN" dirty="0"/>
          </a:p>
          <a:p>
            <a:pPr marL="0" indent="0">
              <a:buNone/>
            </a:pPr>
            <a:r>
              <a:rPr lang="en-US" dirty="0"/>
              <a:t>*</a:t>
            </a:r>
            <a:r>
              <a:rPr lang="en-US" dirty="0" err="1"/>
              <a:t>Tắc</a:t>
            </a:r>
            <a:r>
              <a:rPr lang="en-US" dirty="0"/>
              <a:t> </a:t>
            </a:r>
            <a:r>
              <a:rPr lang="en-US" dirty="0" err="1"/>
              <a:t>mật</a:t>
            </a:r>
            <a:r>
              <a:rPr lang="en-US" dirty="0"/>
              <a:t> </a:t>
            </a:r>
            <a:r>
              <a:rPr lang="en-US" dirty="0" err="1"/>
              <a:t>lâu</a:t>
            </a:r>
            <a:r>
              <a:rPr lang="en-US" dirty="0"/>
              <a:t> </a:t>
            </a:r>
            <a:r>
              <a:rPr lang="en-US" dirty="0" err="1"/>
              <a:t>ngày</a:t>
            </a:r>
            <a:r>
              <a:rPr lang="en-US" dirty="0"/>
              <a:t> 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US" dirty="0" err="1"/>
              <a:t>Kém</a:t>
            </a:r>
            <a:r>
              <a:rPr lang="en-US" dirty="0"/>
              <a:t> </a:t>
            </a:r>
            <a:r>
              <a:rPr lang="en-US" dirty="0" err="1"/>
              <a:t>hấp</a:t>
            </a:r>
            <a:r>
              <a:rPr lang="en-US" dirty="0"/>
              <a:t> </a:t>
            </a:r>
            <a:r>
              <a:rPr lang="en-US" dirty="0" err="1"/>
              <a:t>thu</a:t>
            </a:r>
            <a:r>
              <a:rPr lang="en-US" dirty="0"/>
              <a:t> vitamin K =&gt; PT, INR </a:t>
            </a:r>
            <a:r>
              <a:rPr lang="en-US" dirty="0" err="1"/>
              <a:t>kéo</a:t>
            </a:r>
            <a:r>
              <a:rPr lang="en-US" dirty="0"/>
              <a:t> </a:t>
            </a:r>
            <a:r>
              <a:rPr lang="en-US" dirty="0" err="1"/>
              <a:t>dài</a:t>
            </a:r>
            <a:endParaRPr lang="en-US" dirty="0"/>
          </a:p>
          <a:p>
            <a:pPr>
              <a:buFont typeface="Symbol" panose="05050102010706020507" pitchFamily="18" charset="2"/>
              <a:buChar char="Þ"/>
            </a:pPr>
            <a:r>
              <a:rPr lang="en-US" dirty="0" err="1"/>
              <a:t>Suy</a:t>
            </a:r>
            <a:r>
              <a:rPr lang="en-US" dirty="0"/>
              <a:t> </a:t>
            </a:r>
            <a:r>
              <a:rPr lang="en-US" dirty="0" err="1"/>
              <a:t>dinh</a:t>
            </a:r>
            <a:r>
              <a:rPr lang="en-US" dirty="0"/>
              <a:t> </a:t>
            </a:r>
            <a:r>
              <a:rPr lang="en-US" dirty="0" err="1"/>
              <a:t>dưỡng</a:t>
            </a:r>
            <a:r>
              <a:rPr lang="en-US" dirty="0"/>
              <a:t> =&gt; </a:t>
            </a:r>
            <a:r>
              <a:rPr lang="en-US" dirty="0" err="1"/>
              <a:t>Giảm</a:t>
            </a:r>
            <a:r>
              <a:rPr lang="en-US" dirty="0"/>
              <a:t> pre-</a:t>
            </a:r>
            <a:r>
              <a:rPr lang="en-US" dirty="0" err="1"/>
              <a:t>abulmin</a:t>
            </a:r>
            <a:r>
              <a:rPr lang="en-US" dirty="0"/>
              <a:t>, albumin </a:t>
            </a:r>
            <a:r>
              <a:rPr lang="en-US" dirty="0" err="1"/>
              <a:t>máu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* K </a:t>
            </a:r>
            <a:r>
              <a:rPr lang="en-US" dirty="0" err="1"/>
              <a:t>quanh</a:t>
            </a:r>
            <a:r>
              <a:rPr lang="en-US" dirty="0"/>
              <a:t> </a:t>
            </a:r>
            <a:r>
              <a:rPr lang="en-US" dirty="0" err="1"/>
              <a:t>bóng</a:t>
            </a:r>
            <a:r>
              <a:rPr lang="en-US" dirty="0"/>
              <a:t> </a:t>
            </a:r>
            <a:r>
              <a:rPr lang="en-US" dirty="0" err="1"/>
              <a:t>vater</a:t>
            </a:r>
            <a:r>
              <a:rPr lang="en-US" dirty="0"/>
              <a:t> </a:t>
            </a:r>
            <a:r>
              <a:rPr lang="en-US" dirty="0" err="1"/>
              <a:t>xâm</a:t>
            </a:r>
            <a:r>
              <a:rPr lang="en-US" dirty="0"/>
              <a:t> </a:t>
            </a:r>
            <a:r>
              <a:rPr lang="en-US" dirty="0" err="1"/>
              <a:t>lấn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tá</a:t>
            </a:r>
            <a:r>
              <a:rPr lang="en-US" dirty="0"/>
              <a:t> </a:t>
            </a:r>
            <a:r>
              <a:rPr lang="en-US" dirty="0" err="1"/>
              <a:t>tràng</a:t>
            </a:r>
            <a:r>
              <a:rPr lang="en-US" dirty="0"/>
              <a:t> </a:t>
            </a:r>
            <a:r>
              <a:rPr lang="en-US" dirty="0" err="1"/>
              <a:t>gây</a:t>
            </a:r>
            <a:r>
              <a:rPr lang="en-US" dirty="0"/>
              <a:t> </a:t>
            </a:r>
            <a:r>
              <a:rPr lang="en-US" dirty="0" err="1"/>
              <a:t>chảy</a:t>
            </a:r>
            <a:r>
              <a:rPr lang="en-US" dirty="0"/>
              <a:t> </a:t>
            </a:r>
            <a:r>
              <a:rPr lang="en-US" dirty="0" err="1"/>
              <a:t>máu</a:t>
            </a:r>
            <a:r>
              <a:rPr lang="en-US" dirty="0"/>
              <a:t> =&gt; CTM </a:t>
            </a:r>
            <a:r>
              <a:rPr lang="en-US" dirty="0" err="1"/>
              <a:t>biểu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thiếu</a:t>
            </a:r>
            <a:r>
              <a:rPr lang="en-US" dirty="0"/>
              <a:t> </a:t>
            </a:r>
            <a:r>
              <a:rPr lang="en-US" dirty="0" err="1"/>
              <a:t>máu</a:t>
            </a:r>
            <a:r>
              <a:rPr lang="en-US" dirty="0"/>
              <a:t> </a:t>
            </a:r>
            <a:r>
              <a:rPr lang="en-US" dirty="0" err="1"/>
              <a:t>đẳng</a:t>
            </a:r>
            <a:r>
              <a:rPr lang="en-US" dirty="0"/>
              <a:t> </a:t>
            </a:r>
            <a:r>
              <a:rPr lang="en-US" dirty="0" err="1"/>
              <a:t>sắc</a:t>
            </a:r>
            <a:r>
              <a:rPr lang="en-US" dirty="0"/>
              <a:t>, </a:t>
            </a:r>
            <a:r>
              <a:rPr lang="en-US" dirty="0" err="1"/>
              <a:t>đẳng</a:t>
            </a:r>
            <a:r>
              <a:rPr lang="en-US" dirty="0"/>
              <a:t> </a:t>
            </a:r>
            <a:r>
              <a:rPr lang="en-US" dirty="0" err="1"/>
              <a:t>bào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836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4C41CB1B-5B2A-ED1A-D14D-ED61E3FBB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FE5DCFF4-99AA-538D-23D4-0DE3FC5C56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SIÊU ÂM BỤNG</a:t>
            </a:r>
          </a:p>
          <a:p>
            <a:pPr marL="0" indent="0" algn="just">
              <a:buNone/>
            </a:pP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</a:t>
            </a:r>
            <a:r>
              <a:rPr lang="vi-VN" dirty="0" err="1"/>
              <a:t>khoảng</a:t>
            </a:r>
            <a:r>
              <a:rPr lang="vi-VN" dirty="0"/>
              <a:t> 25% trong </a:t>
            </a:r>
            <a:r>
              <a:rPr lang="vi-VN" dirty="0" err="1"/>
              <a:t>phát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U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endParaRPr lang="en-US" dirty="0"/>
          </a:p>
          <a:p>
            <a:pPr marL="0" indent="0" algn="just">
              <a:buNone/>
            </a:pP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cao hơn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u </a:t>
            </a:r>
            <a:r>
              <a:rPr lang="vi-VN" dirty="0" err="1"/>
              <a:t>lớn</a:t>
            </a:r>
            <a:r>
              <a:rPr lang="vi-VN" dirty="0"/>
              <a:t> (&gt; 3cm) </a:t>
            </a:r>
          </a:p>
          <a:p>
            <a:pPr marL="0" indent="0" algn="just">
              <a:buNone/>
            </a:pPr>
            <a:r>
              <a:rPr lang="vi-VN" dirty="0"/>
              <a:t>Siêu âm ghi </a:t>
            </a:r>
            <a:r>
              <a:rPr lang="vi-VN" dirty="0" err="1"/>
              <a:t>nhận</a:t>
            </a:r>
            <a:r>
              <a:rPr lang="vi-VN" dirty="0"/>
              <a:t>: </a:t>
            </a:r>
            <a:r>
              <a:rPr lang="vi-VN" dirty="0" err="1"/>
              <a:t>Dãn</a:t>
            </a:r>
            <a:r>
              <a:rPr lang="vi-VN" dirty="0"/>
              <a:t>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, </a:t>
            </a:r>
            <a:r>
              <a:rPr lang="vi-VN" dirty="0" err="1"/>
              <a:t>nốt</a:t>
            </a:r>
            <a:r>
              <a:rPr lang="vi-VN" dirty="0"/>
              <a:t> di căn gan, </a:t>
            </a:r>
            <a:r>
              <a:rPr lang="vi-VN" dirty="0" err="1"/>
              <a:t>dịch</a:t>
            </a:r>
            <a:r>
              <a:rPr lang="vi-VN" dirty="0"/>
              <a:t> </a:t>
            </a:r>
            <a:r>
              <a:rPr lang="vi-VN" dirty="0" err="1"/>
              <a:t>báng</a:t>
            </a:r>
            <a:r>
              <a:rPr lang="vi-VN" dirty="0"/>
              <a:t>,…</a:t>
            </a:r>
          </a:p>
          <a:p>
            <a:pPr marL="0" indent="0" algn="just">
              <a:buNone/>
            </a:pPr>
            <a:r>
              <a:rPr lang="vi-VN" dirty="0"/>
              <a:t>Siêu âm </a:t>
            </a:r>
            <a:r>
              <a:rPr lang="vi-VN" dirty="0" err="1"/>
              <a:t>bụng</a:t>
            </a:r>
            <a:r>
              <a:rPr lang="vi-VN" dirty="0"/>
              <a:t> </a:t>
            </a:r>
            <a:r>
              <a:rPr lang="vi-VN" dirty="0" err="1"/>
              <a:t>thường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cận</a:t>
            </a:r>
            <a:r>
              <a:rPr lang="vi-VN" dirty="0"/>
              <a:t> lâm </a:t>
            </a:r>
            <a:r>
              <a:rPr lang="vi-VN" dirty="0" err="1"/>
              <a:t>sàng</a:t>
            </a:r>
            <a:r>
              <a:rPr lang="vi-VN" dirty="0"/>
              <a:t> </a:t>
            </a:r>
            <a:r>
              <a:rPr lang="vi-VN" dirty="0" err="1"/>
              <a:t>đầu</a:t>
            </a:r>
            <a:r>
              <a:rPr lang="vi-VN" dirty="0"/>
              <a:t> tay trong </a:t>
            </a:r>
            <a:r>
              <a:rPr lang="vi-VN" dirty="0" err="1"/>
              <a:t>tiếp</a:t>
            </a:r>
            <a:r>
              <a:rPr lang="vi-VN" dirty="0"/>
              <a:t> </a:t>
            </a:r>
            <a:r>
              <a:rPr lang="vi-VN" dirty="0" err="1"/>
              <a:t>cận</a:t>
            </a:r>
            <a:r>
              <a:rPr lang="vi-VN" dirty="0"/>
              <a:t> </a:t>
            </a:r>
            <a:r>
              <a:rPr lang="vi-VN" dirty="0" err="1"/>
              <a:t>bệnh</a:t>
            </a:r>
            <a:r>
              <a:rPr lang="vi-VN" dirty="0"/>
              <a:t> nhân.</a:t>
            </a:r>
          </a:p>
          <a:p>
            <a:pPr marL="0" indent="0" algn="just">
              <a:buNone/>
            </a:pPr>
            <a:r>
              <a:rPr lang="vi-VN" dirty="0" err="1"/>
              <a:t>Nhận</a:t>
            </a:r>
            <a:r>
              <a:rPr lang="vi-VN" dirty="0"/>
              <a:t> </a:t>
            </a:r>
            <a:r>
              <a:rPr lang="vi-VN" dirty="0" err="1"/>
              <a:t>xét</a:t>
            </a:r>
            <a:r>
              <a:rPr lang="vi-VN" dirty="0"/>
              <a:t>: </a:t>
            </a:r>
          </a:p>
          <a:p>
            <a:pPr marL="0" indent="0" algn="just">
              <a:buNone/>
            </a:pP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không cao</a:t>
            </a:r>
          </a:p>
          <a:p>
            <a:pPr marL="0" indent="0" algn="just">
              <a:buNone/>
            </a:pPr>
            <a:r>
              <a:rPr lang="vi-VN" dirty="0" err="1"/>
              <a:t>Chỉ</a:t>
            </a:r>
            <a:r>
              <a:rPr lang="vi-VN" dirty="0"/>
              <a:t> </a:t>
            </a:r>
            <a:r>
              <a:rPr lang="vi-VN" dirty="0" err="1"/>
              <a:t>đánh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dấu</a:t>
            </a:r>
            <a:r>
              <a:rPr lang="vi-VN" dirty="0"/>
              <a:t> </a:t>
            </a:r>
            <a:r>
              <a:rPr lang="vi-VN" dirty="0" err="1"/>
              <a:t>hiệu</a:t>
            </a:r>
            <a:r>
              <a:rPr lang="vi-VN" dirty="0"/>
              <a:t> </a:t>
            </a:r>
            <a:r>
              <a:rPr lang="vi-VN" dirty="0" err="1"/>
              <a:t>gián</a:t>
            </a:r>
            <a:r>
              <a:rPr lang="vi-VN" dirty="0"/>
              <a:t> </a:t>
            </a:r>
            <a:r>
              <a:rPr lang="vi-VN" dirty="0" err="1"/>
              <a:t>tiếp</a:t>
            </a:r>
            <a:r>
              <a:rPr lang="vi-VN" dirty="0"/>
              <a:t>.</a:t>
            </a:r>
          </a:p>
          <a:p>
            <a:pPr marL="0" indent="0" algn="just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6655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6B095ED6-6645-738A-F602-9FE14E860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0170D89-7348-B015-8F8F-814CD6EF5C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>
              <a:buNone/>
            </a:pPr>
            <a:r>
              <a:rPr lang="vi-VN" dirty="0" err="1"/>
              <a:t>Trực</a:t>
            </a:r>
            <a:r>
              <a:rPr lang="vi-VN" dirty="0"/>
              <a:t> </a:t>
            </a:r>
            <a:r>
              <a:rPr lang="vi-VN" dirty="0" err="1"/>
              <a:t>tiếp</a:t>
            </a:r>
            <a:r>
              <a:rPr lang="vi-VN" dirty="0"/>
              <a:t> </a:t>
            </a:r>
            <a:r>
              <a:rPr lang="vi-VN" dirty="0" err="1"/>
              <a:t>phát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u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Trong u </a:t>
            </a:r>
            <a:r>
              <a:rPr lang="vi-VN" dirty="0" err="1"/>
              <a:t>tụy</a:t>
            </a:r>
            <a:r>
              <a:rPr lang="vi-VN" dirty="0"/>
              <a:t>: </a:t>
            </a: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98%: u ≥ 2 </a:t>
            </a:r>
            <a:r>
              <a:rPr lang="vi-VN" dirty="0" err="1"/>
              <a:t>cm</a:t>
            </a:r>
            <a:r>
              <a:rPr lang="vi-VN" dirty="0"/>
              <a:t>, 68-77%: u&lt;2cm [3] </a:t>
            </a:r>
          </a:p>
          <a:p>
            <a:pPr marL="0" indent="0">
              <a:buNone/>
            </a:pP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thể</a:t>
            </a:r>
            <a:r>
              <a:rPr lang="en-US" dirty="0"/>
              <a:t> </a:t>
            </a:r>
            <a:r>
              <a:rPr lang="en-US" dirty="0" err="1"/>
              <a:t>phân</a:t>
            </a:r>
            <a:r>
              <a:rPr lang="en-US" dirty="0"/>
              <a:t> </a:t>
            </a:r>
            <a:r>
              <a:rPr lang="en-US" dirty="0" err="1"/>
              <a:t>biệt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u </a:t>
            </a:r>
            <a:r>
              <a:rPr lang="en-US" dirty="0" err="1"/>
              <a:t>dạng</a:t>
            </a:r>
            <a:r>
              <a:rPr lang="en-US" dirty="0"/>
              <a:t> </a:t>
            </a:r>
            <a:r>
              <a:rPr lang="en-US" dirty="0" err="1"/>
              <a:t>nang</a:t>
            </a:r>
            <a:r>
              <a:rPr lang="en-US" dirty="0"/>
              <a:t> </a:t>
            </a:r>
            <a:r>
              <a:rPr lang="en-US" dirty="0" err="1"/>
              <a:t>hoặc</a:t>
            </a:r>
            <a:r>
              <a:rPr lang="en-US" dirty="0"/>
              <a:t> u </a:t>
            </a:r>
            <a:r>
              <a:rPr lang="en-US" dirty="0" err="1"/>
              <a:t>thần</a:t>
            </a:r>
            <a:r>
              <a:rPr lang="en-US" dirty="0"/>
              <a:t> </a:t>
            </a:r>
            <a:r>
              <a:rPr lang="en-US" dirty="0" err="1"/>
              <a:t>kinh</a:t>
            </a:r>
            <a:r>
              <a:rPr lang="en-US" dirty="0"/>
              <a:t> </a:t>
            </a:r>
            <a:r>
              <a:rPr lang="en-US" dirty="0" err="1"/>
              <a:t>nội</a:t>
            </a:r>
            <a:r>
              <a:rPr lang="en-US" dirty="0"/>
              <a:t> </a:t>
            </a:r>
            <a:r>
              <a:rPr lang="en-US" dirty="0" err="1"/>
              <a:t>tiết</a:t>
            </a:r>
            <a:r>
              <a:rPr lang="en-US" dirty="0"/>
              <a:t> </a:t>
            </a:r>
            <a:r>
              <a:rPr lang="en-US" dirty="0" err="1"/>
              <a:t>khác</a:t>
            </a:r>
            <a:r>
              <a:rPr lang="en-US" dirty="0"/>
              <a:t> ở </a:t>
            </a:r>
            <a:r>
              <a:rPr lang="en-US" dirty="0" err="1"/>
              <a:t>tụy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* </a:t>
            </a:r>
            <a:r>
              <a:rPr lang="en-US" dirty="0" err="1"/>
              <a:t>Giá</a:t>
            </a:r>
            <a:r>
              <a:rPr lang="en-US" dirty="0"/>
              <a:t> </a:t>
            </a:r>
            <a:r>
              <a:rPr lang="en-US" dirty="0" err="1"/>
              <a:t>trị</a:t>
            </a:r>
            <a:r>
              <a:rPr lang="en-US" dirty="0"/>
              <a:t> CT SCAN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vi-VN" dirty="0" err="1"/>
              <a:t>Phát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u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mức</a:t>
            </a:r>
            <a:r>
              <a:rPr lang="vi-VN" dirty="0"/>
              <a:t> </a:t>
            </a:r>
            <a:r>
              <a:rPr lang="vi-VN" dirty="0" err="1"/>
              <a:t>độ</a:t>
            </a:r>
            <a:r>
              <a:rPr lang="vi-VN" dirty="0"/>
              <a:t> xâm </a:t>
            </a:r>
            <a:r>
              <a:rPr lang="vi-VN" dirty="0" err="1"/>
              <a:t>lấn</a:t>
            </a:r>
            <a:r>
              <a:rPr lang="vi-VN" dirty="0"/>
              <a:t> u: Se 80 – 94%</a:t>
            </a:r>
          </a:p>
          <a:p>
            <a:pPr marL="0" indent="0">
              <a:buNone/>
            </a:pPr>
            <a:r>
              <a:rPr lang="vi-VN" dirty="0"/>
              <a:t>Di căn </a:t>
            </a:r>
            <a:r>
              <a:rPr lang="vi-VN" dirty="0" err="1"/>
              <a:t>hạch</a:t>
            </a:r>
            <a:r>
              <a:rPr lang="vi-VN" dirty="0"/>
              <a:t>: Se 0 – 74%</a:t>
            </a:r>
          </a:p>
          <a:p>
            <a:pPr marL="0" indent="0">
              <a:buNone/>
            </a:pPr>
            <a:r>
              <a:rPr lang="vi-VN" dirty="0"/>
              <a:t>Di căn xa: Se 56%</a:t>
            </a:r>
          </a:p>
          <a:p>
            <a:pPr marL="0" indent="0">
              <a:buNone/>
            </a:pPr>
            <a:r>
              <a:rPr lang="vi-VN" dirty="0" err="1"/>
              <a:t>Định</a:t>
            </a:r>
            <a:r>
              <a:rPr lang="vi-VN" dirty="0"/>
              <a:t> </a:t>
            </a:r>
            <a:r>
              <a:rPr lang="vi-VN" dirty="0" err="1"/>
              <a:t>vị</a:t>
            </a:r>
            <a:r>
              <a:rPr lang="vi-VN" dirty="0"/>
              <a:t> sinh </a:t>
            </a:r>
            <a:r>
              <a:rPr lang="vi-VN" dirty="0" err="1"/>
              <a:t>thiết</a:t>
            </a:r>
            <a:r>
              <a:rPr lang="vi-VN" dirty="0"/>
              <a:t> </a:t>
            </a:r>
            <a:r>
              <a:rPr lang="vi-VN" dirty="0" err="1"/>
              <a:t>trước</a:t>
            </a:r>
            <a:r>
              <a:rPr lang="vi-VN" dirty="0"/>
              <a:t> </a:t>
            </a:r>
            <a:r>
              <a:rPr lang="vi-VN" dirty="0" err="1"/>
              <a:t>mổ</a:t>
            </a:r>
            <a:r>
              <a:rPr lang="vi-V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7221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915FA7BE-9E88-F9B4-D0BF-2536291A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3206A12-D2D9-4357-6CDF-27E07D5F70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>
              <a:buNone/>
            </a:pPr>
            <a:r>
              <a:rPr lang="en-US" dirty="0" err="1"/>
              <a:t>a.Phát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u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mức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xâm</a:t>
            </a:r>
            <a:r>
              <a:rPr lang="en-US" dirty="0"/>
              <a:t> </a:t>
            </a:r>
            <a:r>
              <a:rPr lang="en-US" dirty="0" err="1"/>
              <a:t>lấn</a:t>
            </a:r>
            <a:r>
              <a:rPr lang="en-US" dirty="0"/>
              <a:t> u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6" name="Bảng 6">
            <a:extLst>
              <a:ext uri="{FF2B5EF4-FFF2-40B4-BE49-F238E27FC236}">
                <a16:creationId xmlns:a16="http://schemas.microsoft.com/office/drawing/2014/main" id="{13DE5687-B85B-BDB7-85F7-DBC821C605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628990"/>
              </p:ext>
            </p:extLst>
          </p:nvPr>
        </p:nvGraphicFramePr>
        <p:xfrm>
          <a:off x="983674" y="3429000"/>
          <a:ext cx="6068290" cy="31719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9368">
                  <a:extLst>
                    <a:ext uri="{9D8B030D-6E8A-4147-A177-3AD203B41FA5}">
                      <a16:colId xmlns:a16="http://schemas.microsoft.com/office/drawing/2014/main" val="2563966230"/>
                    </a:ext>
                  </a:extLst>
                </a:gridCol>
                <a:gridCol w="3478922">
                  <a:extLst>
                    <a:ext uri="{9D8B030D-6E8A-4147-A177-3AD203B41FA5}">
                      <a16:colId xmlns:a16="http://schemas.microsoft.com/office/drawing/2014/main" val="3958835123"/>
                    </a:ext>
                  </a:extLst>
                </a:gridCol>
              </a:tblGrid>
              <a:tr h="1160318">
                <a:tc>
                  <a:txBody>
                    <a:bodyPr/>
                    <a:lstStyle/>
                    <a:p>
                      <a:r>
                        <a:rPr lang="en-US" dirty="0" err="1"/>
                        <a:t>Loại</a:t>
                      </a:r>
                      <a:r>
                        <a:rPr lang="en-US" dirty="0"/>
                        <a:t> u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CT scan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511280"/>
                  </a:ext>
                </a:extLst>
              </a:tr>
              <a:tr h="1160318">
                <a:tc>
                  <a:txBody>
                    <a:bodyPr/>
                    <a:lstStyle/>
                    <a:p>
                      <a:r>
                        <a:rPr lang="en-US" dirty="0"/>
                        <a:t>U </a:t>
                      </a:r>
                      <a:r>
                        <a:rPr lang="en-US" dirty="0" err="1"/>
                        <a:t>đầ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uỵ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hi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ô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ả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quang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đậ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ộ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ga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ô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uỵ</a:t>
                      </a:r>
                      <a:endParaRPr lang="en-US" dirty="0"/>
                    </a:p>
                    <a:p>
                      <a:r>
                        <a:rPr lang="en-US" dirty="0" err="1"/>
                        <a:t>Phi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ả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quang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Khố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ô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ồ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ất</a:t>
                      </a:r>
                      <a:r>
                        <a:rPr lang="en-US" dirty="0"/>
                        <a:t>, </a:t>
                      </a:r>
                      <a:r>
                        <a:rPr lang="en-US" dirty="0" err="1"/>
                        <a:t>giả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ậ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ộ</a:t>
                      </a:r>
                      <a:r>
                        <a:rPr lang="en-US" dirty="0"/>
                        <a:t> so </a:t>
                      </a:r>
                      <a:r>
                        <a:rPr lang="en-US" dirty="0" err="1"/>
                        <a:t>vớ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ô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xu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quanh</a:t>
                      </a:r>
                      <a:endParaRPr lang="en-US" dirty="0"/>
                    </a:p>
                    <a:p>
                      <a:r>
                        <a:rPr lang="en-US" dirty="0"/>
                        <a:t>HA </a:t>
                      </a:r>
                      <a:r>
                        <a:rPr lang="en-US" dirty="0" err="1"/>
                        <a:t>thứ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át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dã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ố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uỵ</a:t>
                      </a:r>
                      <a:r>
                        <a:rPr lang="en-US" dirty="0"/>
                        <a:t>, </a:t>
                      </a:r>
                      <a:r>
                        <a:rPr lang="en-US" dirty="0" err="1"/>
                        <a:t>dãn</a:t>
                      </a:r>
                      <a:r>
                        <a:rPr lang="en-US" dirty="0"/>
                        <a:t> OM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687854"/>
                  </a:ext>
                </a:extLst>
              </a:tr>
            </a:tbl>
          </a:graphicData>
        </a:graphic>
      </p:graphicFrame>
      <p:pic>
        <p:nvPicPr>
          <p:cNvPr id="7" name="Hình ảnh 6">
            <a:extLst>
              <a:ext uri="{FF2B5EF4-FFF2-40B4-BE49-F238E27FC236}">
                <a16:creationId xmlns:a16="http://schemas.microsoft.com/office/drawing/2014/main" id="{471FD92E-D3BD-9B0A-E81B-AD67B35C9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8741" y="3320164"/>
            <a:ext cx="3889585" cy="338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8334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6DD65AF-54B8-1FAB-41B4-AF6E32386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570DE46-3FA4-C8EB-4830-E1ACBEFA39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>
              <a:buNone/>
            </a:pPr>
            <a:r>
              <a:rPr lang="en-US" dirty="0" err="1"/>
              <a:t>a.Phát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u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mức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xâm</a:t>
            </a:r>
            <a:r>
              <a:rPr lang="en-US" dirty="0"/>
              <a:t> </a:t>
            </a:r>
            <a:r>
              <a:rPr lang="en-US" dirty="0" err="1"/>
              <a:t>lấn</a:t>
            </a:r>
            <a:r>
              <a:rPr lang="en-US" dirty="0"/>
              <a:t> u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Bảng 4">
            <a:extLst>
              <a:ext uri="{FF2B5EF4-FFF2-40B4-BE49-F238E27FC236}">
                <a16:creationId xmlns:a16="http://schemas.microsoft.com/office/drawing/2014/main" id="{11576B6A-0190-AF44-D7FF-5D4FD8B314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780925"/>
              </p:ext>
            </p:extLst>
          </p:nvPr>
        </p:nvGraphicFramePr>
        <p:xfrm>
          <a:off x="838200" y="3546764"/>
          <a:ext cx="6366164" cy="2396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3082">
                  <a:extLst>
                    <a:ext uri="{9D8B030D-6E8A-4147-A177-3AD203B41FA5}">
                      <a16:colId xmlns:a16="http://schemas.microsoft.com/office/drawing/2014/main" val="3005219682"/>
                    </a:ext>
                  </a:extLst>
                </a:gridCol>
                <a:gridCol w="3183082">
                  <a:extLst>
                    <a:ext uri="{9D8B030D-6E8A-4147-A177-3AD203B41FA5}">
                      <a16:colId xmlns:a16="http://schemas.microsoft.com/office/drawing/2014/main" val="656332051"/>
                    </a:ext>
                  </a:extLst>
                </a:gridCol>
              </a:tblGrid>
              <a:tr h="1198418">
                <a:tc>
                  <a:txBody>
                    <a:bodyPr/>
                    <a:lstStyle/>
                    <a:p>
                      <a:r>
                        <a:rPr lang="en-US" dirty="0" err="1"/>
                        <a:t>Loại</a:t>
                      </a:r>
                      <a:r>
                        <a:rPr lang="en-US" dirty="0"/>
                        <a:t> u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CT scan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1562371"/>
                  </a:ext>
                </a:extLst>
              </a:tr>
              <a:tr h="1198418">
                <a:tc>
                  <a:txBody>
                    <a:bodyPr/>
                    <a:lstStyle/>
                    <a:p>
                      <a:r>
                        <a:rPr lang="en-US" dirty="0"/>
                        <a:t>U </a:t>
                      </a:r>
                      <a:r>
                        <a:rPr lang="en-US" dirty="0" err="1"/>
                        <a:t>tá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àng</a:t>
                      </a:r>
                      <a:r>
                        <a:rPr lang="en-US" dirty="0"/>
                        <a:t> D2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ẹp</a:t>
                      </a:r>
                      <a:r>
                        <a:rPr lang="en-US" dirty="0"/>
                        <a:t>, </a:t>
                      </a:r>
                      <a:r>
                        <a:rPr lang="en-US" dirty="0" err="1"/>
                        <a:t>dạ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ò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ớ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bờ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ô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ều</a:t>
                      </a:r>
                      <a:r>
                        <a:rPr lang="en-US" dirty="0"/>
                        <a:t>, </a:t>
                      </a:r>
                      <a:r>
                        <a:rPr lang="en-US" dirty="0" err="1"/>
                        <a:t>gây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ã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á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à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à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ạ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ày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167664"/>
                  </a:ext>
                </a:extLst>
              </a:tr>
            </a:tbl>
          </a:graphicData>
        </a:graphic>
      </p:graphicFrame>
      <p:pic>
        <p:nvPicPr>
          <p:cNvPr id="5" name="Hình ảnh 4">
            <a:extLst>
              <a:ext uri="{FF2B5EF4-FFF2-40B4-BE49-F238E27FC236}">
                <a16:creationId xmlns:a16="http://schemas.microsoft.com/office/drawing/2014/main" id="{8C6BAC5B-A49B-0A03-4EB6-F113993DF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0350" y="3200750"/>
            <a:ext cx="2987299" cy="329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4856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9AB55121-646B-1B44-482B-917CB18A1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BBFDA00-2085-0E2F-4FA7-95639E0115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>
              <a:buNone/>
            </a:pPr>
            <a:r>
              <a:rPr lang="en-US" dirty="0" err="1"/>
              <a:t>a.Phát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u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mức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xâm</a:t>
            </a:r>
            <a:r>
              <a:rPr lang="en-US" dirty="0"/>
              <a:t> </a:t>
            </a:r>
            <a:r>
              <a:rPr lang="en-US" dirty="0" err="1"/>
              <a:t>lấn</a:t>
            </a:r>
            <a:r>
              <a:rPr lang="en-US" dirty="0"/>
              <a:t> u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Bảng 4">
            <a:extLst>
              <a:ext uri="{FF2B5EF4-FFF2-40B4-BE49-F238E27FC236}">
                <a16:creationId xmlns:a16="http://schemas.microsoft.com/office/drawing/2014/main" id="{6ED7BABA-F281-6542-A107-0FBDEBE46E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71544"/>
              </p:ext>
            </p:extLst>
          </p:nvPr>
        </p:nvGraphicFramePr>
        <p:xfrm>
          <a:off x="983671" y="3616035"/>
          <a:ext cx="6248402" cy="2960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4201">
                  <a:extLst>
                    <a:ext uri="{9D8B030D-6E8A-4147-A177-3AD203B41FA5}">
                      <a16:colId xmlns:a16="http://schemas.microsoft.com/office/drawing/2014/main" val="3648849369"/>
                    </a:ext>
                  </a:extLst>
                </a:gridCol>
                <a:gridCol w="3124201">
                  <a:extLst>
                    <a:ext uri="{9D8B030D-6E8A-4147-A177-3AD203B41FA5}">
                      <a16:colId xmlns:a16="http://schemas.microsoft.com/office/drawing/2014/main" val="3482130225"/>
                    </a:ext>
                  </a:extLst>
                </a:gridCol>
              </a:tblGrid>
              <a:tr h="949037">
                <a:tc>
                  <a:txBody>
                    <a:bodyPr/>
                    <a:lstStyle/>
                    <a:p>
                      <a:r>
                        <a:rPr lang="en-US" dirty="0" err="1"/>
                        <a:t>Loại</a:t>
                      </a:r>
                      <a:r>
                        <a:rPr lang="en-US" dirty="0"/>
                        <a:t> u</a:t>
                      </a:r>
                    </a:p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CT scan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8361854"/>
                  </a:ext>
                </a:extLst>
              </a:tr>
              <a:tr h="949037">
                <a:tc>
                  <a:txBody>
                    <a:bodyPr/>
                    <a:lstStyle/>
                    <a:p>
                      <a:r>
                        <a:rPr lang="en-US" dirty="0"/>
                        <a:t>U </a:t>
                      </a:r>
                      <a:r>
                        <a:rPr lang="en-US" dirty="0" err="1"/>
                        <a:t>đoạ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uối</a:t>
                      </a:r>
                      <a:r>
                        <a:rPr lang="en-US" dirty="0"/>
                        <a:t> OMC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vi-VN" dirty="0"/>
                        <a:t>Phim </a:t>
                      </a:r>
                      <a:r>
                        <a:rPr lang="vi-VN" dirty="0" err="1"/>
                        <a:t>cản</a:t>
                      </a:r>
                      <a:r>
                        <a:rPr lang="vi-VN" dirty="0"/>
                        <a:t> quang: </a:t>
                      </a:r>
                      <a:r>
                        <a:rPr lang="vi-VN" dirty="0" err="1"/>
                        <a:t>Dày</a:t>
                      </a:r>
                      <a:r>
                        <a:rPr lang="vi-VN" dirty="0"/>
                        <a:t> không </a:t>
                      </a:r>
                      <a:r>
                        <a:rPr lang="vi-VN" dirty="0" err="1"/>
                        <a:t>đều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và</a:t>
                      </a:r>
                      <a:r>
                        <a:rPr lang="vi-VN" dirty="0"/>
                        <a:t> không </a:t>
                      </a:r>
                      <a:r>
                        <a:rPr lang="vi-VN" dirty="0" err="1"/>
                        <a:t>đối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xứng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oạn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cuối</a:t>
                      </a:r>
                      <a:r>
                        <a:rPr lang="vi-VN" dirty="0"/>
                        <a:t> OMC </a:t>
                      </a:r>
                      <a:r>
                        <a:rPr lang="vi-VN" dirty="0" err="1"/>
                        <a:t>kèm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với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giãn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ường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mật</a:t>
                      </a:r>
                      <a:r>
                        <a:rPr lang="vi-VN" dirty="0"/>
                        <a:t> trong gan, </a:t>
                      </a:r>
                      <a:r>
                        <a:rPr lang="vi-VN" dirty="0" err="1"/>
                        <a:t>thành</a:t>
                      </a:r>
                      <a:r>
                        <a:rPr lang="vi-VN" dirty="0"/>
                        <a:t> OMC tăng </a:t>
                      </a:r>
                      <a:r>
                        <a:rPr lang="vi-VN" dirty="0" err="1"/>
                        <a:t>đậm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ộ</a:t>
                      </a:r>
                      <a:r>
                        <a:rPr lang="vi-VN" dirty="0"/>
                        <a:t> so </a:t>
                      </a:r>
                      <a:r>
                        <a:rPr lang="vi-VN" dirty="0" err="1"/>
                        <a:t>với</a:t>
                      </a:r>
                      <a:r>
                        <a:rPr lang="vi-VN" dirty="0"/>
                        <a:t> nhu mô gan.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0755077"/>
                  </a:ext>
                </a:extLst>
              </a:tr>
            </a:tbl>
          </a:graphicData>
        </a:graphic>
      </p:graphicFrame>
      <p:pic>
        <p:nvPicPr>
          <p:cNvPr id="5" name="Hình ảnh 4">
            <a:extLst>
              <a:ext uri="{FF2B5EF4-FFF2-40B4-BE49-F238E27FC236}">
                <a16:creationId xmlns:a16="http://schemas.microsoft.com/office/drawing/2014/main" id="{2AAD623C-BA31-F343-AD17-8B99E66964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2073" y="3616034"/>
            <a:ext cx="4819414" cy="287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0607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1DD88D2-BE31-EE06-CBB3-407CD434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C50EEB47-0963-5444-1510-3765BEA211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>
              <a:buNone/>
            </a:pPr>
            <a:r>
              <a:rPr lang="en-US" dirty="0" err="1"/>
              <a:t>a.Phát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u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mức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xâm</a:t>
            </a:r>
            <a:r>
              <a:rPr lang="en-US" dirty="0"/>
              <a:t> </a:t>
            </a:r>
            <a:r>
              <a:rPr lang="en-US" dirty="0" err="1"/>
              <a:t>lấn</a:t>
            </a:r>
            <a:r>
              <a:rPr lang="en-US" dirty="0"/>
              <a:t> u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Bảng 4">
            <a:extLst>
              <a:ext uri="{FF2B5EF4-FFF2-40B4-BE49-F238E27FC236}">
                <a16:creationId xmlns:a16="http://schemas.microsoft.com/office/drawing/2014/main" id="{82F3C3D6-994D-52DA-1368-EA78102221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4839281"/>
              </p:ext>
            </p:extLst>
          </p:nvPr>
        </p:nvGraphicFramePr>
        <p:xfrm>
          <a:off x="838200" y="3429000"/>
          <a:ext cx="6712528" cy="3107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6264">
                  <a:extLst>
                    <a:ext uri="{9D8B030D-6E8A-4147-A177-3AD203B41FA5}">
                      <a16:colId xmlns:a16="http://schemas.microsoft.com/office/drawing/2014/main" val="3387104557"/>
                    </a:ext>
                  </a:extLst>
                </a:gridCol>
                <a:gridCol w="3356264">
                  <a:extLst>
                    <a:ext uri="{9D8B030D-6E8A-4147-A177-3AD203B41FA5}">
                      <a16:colId xmlns:a16="http://schemas.microsoft.com/office/drawing/2014/main" val="1850290858"/>
                    </a:ext>
                  </a:extLst>
                </a:gridCol>
              </a:tblGrid>
              <a:tr h="821002">
                <a:tc>
                  <a:txBody>
                    <a:bodyPr/>
                    <a:lstStyle/>
                    <a:p>
                      <a:r>
                        <a:rPr lang="en-US" dirty="0" err="1"/>
                        <a:t>Loại</a:t>
                      </a:r>
                      <a:r>
                        <a:rPr lang="en-US" dirty="0"/>
                        <a:t> u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CT scan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302624"/>
                  </a:ext>
                </a:extLst>
              </a:tr>
              <a:tr h="821002">
                <a:tc>
                  <a:txBody>
                    <a:bodyPr/>
                    <a:lstStyle/>
                    <a:p>
                      <a:r>
                        <a:rPr lang="en-US" dirty="0"/>
                        <a:t>U </a:t>
                      </a:r>
                      <a:r>
                        <a:rPr lang="en-US" dirty="0" err="1"/>
                        <a:t>bó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ater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vi-VN" dirty="0"/>
                        <a:t>Phim </a:t>
                      </a:r>
                      <a:r>
                        <a:rPr lang="vi-VN" dirty="0" err="1"/>
                        <a:t>cản</a:t>
                      </a:r>
                      <a:r>
                        <a:rPr lang="vi-VN" dirty="0"/>
                        <a:t> quang: </a:t>
                      </a:r>
                      <a:r>
                        <a:rPr lang="vi-VN" dirty="0" err="1"/>
                        <a:t>Khối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giảm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ậm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ộ</a:t>
                      </a:r>
                      <a:r>
                        <a:rPr lang="vi-VN" dirty="0"/>
                        <a:t> chia </a:t>
                      </a:r>
                      <a:r>
                        <a:rPr lang="vi-VN" dirty="0" err="1"/>
                        <a:t>thùy</a:t>
                      </a:r>
                      <a:r>
                        <a:rPr lang="vi-VN" dirty="0"/>
                        <a:t>, hay thâm </a:t>
                      </a:r>
                      <a:r>
                        <a:rPr lang="vi-VN" dirty="0" err="1"/>
                        <a:t>nhiễm</a:t>
                      </a:r>
                      <a:r>
                        <a:rPr lang="vi-VN" dirty="0"/>
                        <a:t>. </a:t>
                      </a:r>
                    </a:p>
                    <a:p>
                      <a:r>
                        <a:rPr lang="vi-VN" dirty="0" err="1"/>
                        <a:t>Hình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ảnh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ống</a:t>
                      </a:r>
                      <a:r>
                        <a:rPr lang="vi-VN" dirty="0"/>
                        <a:t> đôi </a:t>
                      </a:r>
                      <a:r>
                        <a:rPr lang="vi-VN" dirty="0" err="1"/>
                        <a:t>thường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gặp</a:t>
                      </a:r>
                      <a:r>
                        <a:rPr lang="vi-VN" dirty="0"/>
                        <a:t> (</a:t>
                      </a:r>
                      <a:r>
                        <a:rPr lang="vi-VN" dirty="0" err="1"/>
                        <a:t>ống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tuỵ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chính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và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ống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mật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chủ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dãn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nằm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cạnh</a:t>
                      </a:r>
                      <a:r>
                        <a:rPr lang="vi-VN" dirty="0"/>
                        <a:t> nhau), </a:t>
                      </a:r>
                      <a:r>
                        <a:rPr lang="vi-VN" dirty="0" err="1"/>
                        <a:t>thậm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chí</a:t>
                      </a:r>
                      <a:r>
                        <a:rPr lang="vi-VN" dirty="0"/>
                        <a:t> khi </a:t>
                      </a:r>
                      <a:r>
                        <a:rPr lang="vi-VN" dirty="0" err="1"/>
                        <a:t>kích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thước</a:t>
                      </a:r>
                      <a:r>
                        <a:rPr lang="vi-VN" dirty="0"/>
                        <a:t> u </a:t>
                      </a:r>
                      <a:r>
                        <a:rPr lang="vi-VN" dirty="0" err="1"/>
                        <a:t>nhỏ</a:t>
                      </a:r>
                      <a:endParaRPr lang="vi-VN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1382340"/>
                  </a:ext>
                </a:extLst>
              </a:tr>
            </a:tbl>
          </a:graphicData>
        </a:graphic>
      </p:graphicFrame>
      <p:pic>
        <p:nvPicPr>
          <p:cNvPr id="5" name="Hình ảnh 4">
            <a:extLst>
              <a:ext uri="{FF2B5EF4-FFF2-40B4-BE49-F238E27FC236}">
                <a16:creationId xmlns:a16="http://schemas.microsoft.com/office/drawing/2014/main" id="{7709EFBF-7DD1-2D37-8D56-AE9962825A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0728" y="2725114"/>
            <a:ext cx="2483125" cy="2257387"/>
          </a:xfrm>
          <a:prstGeom prst="rect">
            <a:avLst/>
          </a:prstGeom>
        </p:spPr>
      </p:pic>
      <p:pic>
        <p:nvPicPr>
          <p:cNvPr id="6" name="Hình ảnh 5">
            <a:extLst>
              <a:ext uri="{FF2B5EF4-FFF2-40B4-BE49-F238E27FC236}">
                <a16:creationId xmlns:a16="http://schemas.microsoft.com/office/drawing/2014/main" id="{8AF261E7-71FA-AD06-8372-4862A4A405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0728" y="4891383"/>
            <a:ext cx="3206861" cy="196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1236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C54ED719-9492-9EDA-98FD-24213CE96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ADFD2E2-AE49-CBCF-3C12-40B9B9C29C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 algn="just">
              <a:buNone/>
            </a:pPr>
            <a:r>
              <a:rPr lang="en-US" dirty="0"/>
              <a:t>b.</a:t>
            </a:r>
            <a:r>
              <a:rPr lang="vi-VN" dirty="0" err="1"/>
              <a:t>Phát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di căn </a:t>
            </a:r>
            <a:r>
              <a:rPr lang="vi-VN" dirty="0" err="1"/>
              <a:t>hạch</a:t>
            </a:r>
            <a:r>
              <a:rPr lang="vi-VN" dirty="0"/>
              <a:t>: </a:t>
            </a:r>
          </a:p>
          <a:p>
            <a:pPr marL="0" indent="0" algn="just">
              <a:buNone/>
            </a:pPr>
            <a:r>
              <a:rPr lang="vi-VN" dirty="0" err="1"/>
              <a:t>Hạch</a:t>
            </a:r>
            <a:r>
              <a:rPr lang="vi-VN" dirty="0"/>
              <a:t> di căn: </a:t>
            </a:r>
            <a:r>
              <a:rPr lang="vi-VN" dirty="0" err="1"/>
              <a:t>đc</a:t>
            </a:r>
            <a:r>
              <a:rPr lang="vi-VN" dirty="0"/>
              <a:t> xem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hạch</a:t>
            </a:r>
            <a:r>
              <a:rPr lang="vi-VN" dirty="0"/>
              <a:t> di căn khi </a:t>
            </a:r>
            <a:r>
              <a:rPr lang="vi-VN" dirty="0" err="1"/>
              <a:t>có</a:t>
            </a:r>
            <a:r>
              <a:rPr lang="vi-VN" dirty="0"/>
              <a:t> 1 trong 3 </a:t>
            </a:r>
            <a:r>
              <a:rPr lang="vi-VN" dirty="0" err="1"/>
              <a:t>đặc</a:t>
            </a:r>
            <a:r>
              <a:rPr lang="vi-VN" dirty="0"/>
              <a:t> </a:t>
            </a:r>
            <a:r>
              <a:rPr lang="vi-VN" dirty="0" err="1"/>
              <a:t>điểm</a:t>
            </a:r>
            <a:r>
              <a:rPr lang="vi-VN" dirty="0"/>
              <a:t> sau đây: </a:t>
            </a:r>
          </a:p>
          <a:p>
            <a:pPr marL="0" indent="0" algn="just">
              <a:buNone/>
            </a:pP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kính</a:t>
            </a:r>
            <a:r>
              <a:rPr lang="vi-VN" dirty="0"/>
              <a:t> ≥ 1 </a:t>
            </a:r>
            <a:r>
              <a:rPr lang="vi-VN" dirty="0" err="1"/>
              <a:t>cm</a:t>
            </a:r>
            <a:endParaRPr lang="vi-VN" dirty="0"/>
          </a:p>
          <a:p>
            <a:pPr marL="0" indent="0" algn="just">
              <a:buNone/>
            </a:pP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ảnh</a:t>
            </a:r>
            <a:r>
              <a:rPr lang="vi-VN" dirty="0"/>
              <a:t> </a:t>
            </a:r>
            <a:r>
              <a:rPr lang="vi-VN" dirty="0" err="1"/>
              <a:t>hoại</a:t>
            </a:r>
            <a:r>
              <a:rPr lang="vi-VN" dirty="0"/>
              <a:t> </a:t>
            </a:r>
            <a:r>
              <a:rPr lang="vi-VN" dirty="0" err="1"/>
              <a:t>tử</a:t>
            </a:r>
            <a:r>
              <a:rPr lang="vi-VN" dirty="0"/>
              <a:t> trung tâm </a:t>
            </a:r>
            <a:r>
              <a:rPr lang="vi-VN" dirty="0" err="1"/>
              <a:t>bất</a:t>
            </a:r>
            <a:r>
              <a:rPr lang="vi-VN" dirty="0"/>
              <a:t> </a:t>
            </a:r>
            <a:r>
              <a:rPr lang="vi-VN" dirty="0" err="1"/>
              <a:t>kể</a:t>
            </a:r>
            <a:r>
              <a:rPr lang="vi-VN" dirty="0"/>
              <a:t> </a:t>
            </a:r>
            <a:r>
              <a:rPr lang="vi-VN" dirty="0" err="1"/>
              <a:t>kích</a:t>
            </a:r>
            <a:r>
              <a:rPr lang="vi-VN" dirty="0"/>
              <a:t> </a:t>
            </a:r>
            <a:r>
              <a:rPr lang="vi-VN" dirty="0" err="1"/>
              <a:t>thước</a:t>
            </a:r>
            <a:r>
              <a:rPr lang="vi-VN" dirty="0"/>
              <a:t> (</a:t>
            </a:r>
            <a:r>
              <a:rPr lang="vi-VN" dirty="0" err="1"/>
              <a:t>mất</a:t>
            </a:r>
            <a:r>
              <a:rPr lang="vi-VN" dirty="0"/>
              <a:t> </a:t>
            </a:r>
            <a:r>
              <a:rPr lang="vi-VN" dirty="0" err="1"/>
              <a:t>rốn</a:t>
            </a:r>
            <a:r>
              <a:rPr lang="vi-VN" dirty="0"/>
              <a:t> </a:t>
            </a:r>
            <a:r>
              <a:rPr lang="vi-VN" dirty="0" err="1"/>
              <a:t>hạch</a:t>
            </a:r>
            <a:r>
              <a:rPr lang="vi-VN" dirty="0"/>
              <a:t>)</a:t>
            </a:r>
          </a:p>
          <a:p>
            <a:pPr marL="0" indent="0" algn="just">
              <a:buNone/>
            </a:pPr>
            <a:r>
              <a:rPr lang="vi-VN" dirty="0" err="1"/>
              <a:t>Hạch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đậm</a:t>
            </a:r>
            <a:r>
              <a:rPr lang="vi-VN" dirty="0"/>
              <a:t> </a:t>
            </a:r>
            <a:r>
              <a:rPr lang="vi-VN" dirty="0" err="1"/>
              <a:t>độ</a:t>
            </a:r>
            <a:r>
              <a:rPr lang="vi-VN" dirty="0"/>
              <a:t> cao hơn nhu mô gan trong phim </a:t>
            </a:r>
            <a:r>
              <a:rPr lang="vi-VN" dirty="0" err="1"/>
              <a:t>thì</a:t>
            </a:r>
            <a:r>
              <a:rPr lang="vi-VN" dirty="0"/>
              <a:t> </a:t>
            </a:r>
            <a:r>
              <a:rPr lang="vi-VN" dirty="0" err="1"/>
              <a:t>tĩnh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</a:t>
            </a:r>
            <a:r>
              <a:rPr lang="vi-VN" dirty="0" err="1"/>
              <a:t>cửa</a:t>
            </a:r>
            <a:endParaRPr lang="en-US" dirty="0"/>
          </a:p>
          <a:p>
            <a:pPr marL="0" indent="0" algn="just">
              <a:buNone/>
            </a:pPr>
            <a:endParaRPr lang="en-US" dirty="0"/>
          </a:p>
          <a:p>
            <a:pPr marL="0" indent="0" algn="just">
              <a:buNone/>
            </a:pPr>
            <a:endParaRPr lang="vi-VN" dirty="0"/>
          </a:p>
          <a:p>
            <a:pPr marL="0" indent="0" algn="just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FFC99090-2294-0B5C-EF0A-9CF12282D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6538" y="3829524"/>
            <a:ext cx="4511431" cy="343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743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E5221798-4842-7D24-99E7-24C3C07A8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.TỔNG QUAN</a:t>
            </a:r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77C9D753-FA3E-AA1F-0710-0454A4F0AC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01418" cy="422348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vi-VN" dirty="0"/>
              <a:t>Ung thư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tập</a:t>
            </a:r>
            <a:r>
              <a:rPr lang="vi-VN" dirty="0"/>
              <a:t> </a:t>
            </a:r>
            <a:r>
              <a:rPr lang="vi-VN" dirty="0" err="1"/>
              <a:t>hợp</a:t>
            </a:r>
            <a:r>
              <a:rPr lang="vi-VN" dirty="0"/>
              <a:t> </a:t>
            </a:r>
            <a:r>
              <a:rPr lang="vi-VN" dirty="0" err="1"/>
              <a:t>những</a:t>
            </a:r>
            <a:r>
              <a:rPr lang="vi-VN" dirty="0"/>
              <a:t> tân sinh </a:t>
            </a:r>
            <a:r>
              <a:rPr lang="vi-VN" dirty="0" err="1"/>
              <a:t>ác</a:t>
            </a:r>
            <a:r>
              <a:rPr lang="vi-VN" dirty="0"/>
              <a:t> </a:t>
            </a:r>
            <a:r>
              <a:rPr lang="vi-VN" dirty="0" err="1"/>
              <a:t>tính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</a:t>
            </a:r>
            <a:r>
              <a:rPr lang="vi-VN" dirty="0" err="1"/>
              <a:t>vùng</a:t>
            </a:r>
            <a:r>
              <a:rPr lang="vi-VN" dirty="0"/>
              <a:t>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. </a:t>
            </a:r>
          </a:p>
          <a:p>
            <a:pPr marL="0" indent="0">
              <a:buNone/>
            </a:pPr>
            <a:r>
              <a:rPr lang="en-US" dirty="0"/>
              <a:t>V</a:t>
            </a:r>
            <a:r>
              <a:rPr lang="vi-VN" dirty="0" err="1"/>
              <a:t>ùng</a:t>
            </a:r>
            <a:r>
              <a:rPr lang="vi-VN" dirty="0"/>
              <a:t>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 </a:t>
            </a:r>
            <a:r>
              <a:rPr lang="vi-VN" dirty="0" err="1"/>
              <a:t>giới</a:t>
            </a:r>
            <a:r>
              <a:rPr lang="vi-VN" dirty="0"/>
              <a:t> </a:t>
            </a:r>
            <a:r>
              <a:rPr lang="vi-VN" dirty="0" err="1"/>
              <a:t>hạn</a:t>
            </a:r>
            <a:r>
              <a:rPr lang="vi-VN" dirty="0"/>
              <a:t> trong </a:t>
            </a:r>
            <a:r>
              <a:rPr lang="vi-VN" dirty="0" err="1"/>
              <a:t>bán</a:t>
            </a:r>
            <a:r>
              <a:rPr lang="vi-VN" dirty="0"/>
              <a:t> </a:t>
            </a:r>
            <a:r>
              <a:rPr lang="vi-VN" dirty="0" err="1"/>
              <a:t>kính</a:t>
            </a:r>
            <a:r>
              <a:rPr lang="vi-VN" dirty="0"/>
              <a:t> 2cm quanh </a:t>
            </a:r>
            <a:r>
              <a:rPr lang="vi-VN" dirty="0" err="1"/>
              <a:t>nhú</a:t>
            </a:r>
            <a:r>
              <a:rPr lang="vi-VN" dirty="0"/>
              <a:t> </a:t>
            </a:r>
            <a:r>
              <a:rPr lang="vi-VN" dirty="0" err="1"/>
              <a:t>tá</a:t>
            </a:r>
            <a:r>
              <a:rPr lang="vi-VN" dirty="0"/>
              <a:t> </a:t>
            </a:r>
            <a:r>
              <a:rPr lang="vi-VN" dirty="0" err="1"/>
              <a:t>lớn</a:t>
            </a:r>
            <a:r>
              <a:rPr lang="en-US" dirty="0"/>
              <a:t>. Bao </a:t>
            </a:r>
            <a:r>
              <a:rPr lang="en-US" dirty="0" err="1"/>
              <a:t>gồm</a:t>
            </a:r>
            <a:r>
              <a:rPr lang="en-US" dirty="0"/>
              <a:t> </a:t>
            </a:r>
            <a:r>
              <a:rPr lang="en-US" dirty="0" err="1"/>
              <a:t>đầu</a:t>
            </a:r>
            <a:r>
              <a:rPr lang="en-US" dirty="0"/>
              <a:t> </a:t>
            </a:r>
            <a:r>
              <a:rPr lang="en-US" dirty="0" err="1"/>
              <a:t>tụy</a:t>
            </a:r>
            <a:r>
              <a:rPr lang="en-US" dirty="0"/>
              <a:t>, </a:t>
            </a:r>
            <a:r>
              <a:rPr lang="en-US" dirty="0" err="1"/>
              <a:t>bóng</a:t>
            </a:r>
            <a:r>
              <a:rPr lang="en-US" dirty="0"/>
              <a:t> </a:t>
            </a:r>
            <a:r>
              <a:rPr lang="en-US" dirty="0" err="1"/>
              <a:t>vater</a:t>
            </a:r>
            <a:r>
              <a:rPr lang="en-US" dirty="0"/>
              <a:t>, </a:t>
            </a:r>
            <a:r>
              <a:rPr lang="en-US" dirty="0" err="1"/>
              <a:t>đoạn</a:t>
            </a:r>
            <a:r>
              <a:rPr lang="en-US" dirty="0"/>
              <a:t> </a:t>
            </a:r>
            <a:r>
              <a:rPr lang="en-US" dirty="0" err="1"/>
              <a:t>cuối</a:t>
            </a:r>
            <a:r>
              <a:rPr lang="en-US" dirty="0"/>
              <a:t> OMC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tá</a:t>
            </a:r>
            <a:r>
              <a:rPr lang="en-US" dirty="0"/>
              <a:t> </a:t>
            </a:r>
            <a:r>
              <a:rPr lang="en-US" dirty="0" err="1"/>
              <a:t>tràng</a:t>
            </a:r>
            <a:r>
              <a:rPr lang="en-US" dirty="0"/>
              <a:t>.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biểu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lâm </a:t>
            </a:r>
            <a:r>
              <a:rPr lang="vi-VN" dirty="0" err="1"/>
              <a:t>sàng</a:t>
            </a:r>
            <a:r>
              <a:rPr lang="vi-VN" dirty="0"/>
              <a:t>, </a:t>
            </a:r>
            <a:r>
              <a:rPr lang="vi-VN" dirty="0" err="1"/>
              <a:t>chẩn</a:t>
            </a:r>
            <a:r>
              <a:rPr lang="vi-VN" dirty="0"/>
              <a:t> </a:t>
            </a:r>
            <a:r>
              <a:rPr lang="vi-VN" dirty="0" err="1"/>
              <a:t>đoán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điều</a:t>
            </a:r>
            <a:r>
              <a:rPr lang="vi-VN" dirty="0"/>
              <a:t> </a:t>
            </a:r>
            <a:r>
              <a:rPr lang="vi-VN" dirty="0" err="1"/>
              <a:t>trị</a:t>
            </a:r>
            <a:r>
              <a:rPr lang="vi-VN" dirty="0"/>
              <a:t> </a:t>
            </a:r>
            <a:r>
              <a:rPr lang="vi-VN" dirty="0" err="1"/>
              <a:t>giống</a:t>
            </a:r>
            <a:r>
              <a:rPr lang="vi-VN" dirty="0"/>
              <a:t> nhau</a:t>
            </a:r>
            <a:r>
              <a:rPr lang="en-US" dirty="0"/>
              <a:t>.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F34D4C94-BD63-8B8E-BF78-5A6D541294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8769" y="1825625"/>
            <a:ext cx="5219114" cy="408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6445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969CC8D-FF60-B161-B88F-0CA806F60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0AC8346-30A1-AC4B-D5D8-B8F2FBFDDC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 algn="just">
              <a:buNone/>
            </a:pPr>
            <a:r>
              <a:rPr lang="en-US" dirty="0"/>
              <a:t>c.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di căn xa:</a:t>
            </a:r>
          </a:p>
          <a:p>
            <a:pPr marL="0" indent="0" algn="just">
              <a:buNone/>
            </a:pPr>
            <a:r>
              <a:rPr lang="vi-VN" dirty="0"/>
              <a:t>Di căn gan: </a:t>
            </a:r>
            <a:r>
              <a:rPr lang="vi-VN" dirty="0" err="1"/>
              <a:t>khối</a:t>
            </a:r>
            <a:r>
              <a:rPr lang="vi-VN" dirty="0"/>
              <a:t> </a:t>
            </a:r>
            <a:r>
              <a:rPr lang="vi-VN" dirty="0" err="1"/>
              <a:t>đậm</a:t>
            </a:r>
            <a:r>
              <a:rPr lang="vi-VN" dirty="0"/>
              <a:t> </a:t>
            </a: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thấp</a:t>
            </a:r>
            <a:r>
              <a:rPr lang="vi-VN" dirty="0"/>
              <a:t> </a:t>
            </a:r>
            <a:r>
              <a:rPr lang="vi-VN" dirty="0" err="1"/>
              <a:t>thì</a:t>
            </a:r>
            <a:r>
              <a:rPr lang="vi-VN" dirty="0"/>
              <a:t> TM,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ảnh</a:t>
            </a:r>
            <a:r>
              <a:rPr lang="vi-VN" dirty="0"/>
              <a:t> tăng quang </a:t>
            </a:r>
            <a:r>
              <a:rPr lang="vi-VN" dirty="0" err="1"/>
              <a:t>viền</a:t>
            </a:r>
            <a:endParaRPr lang="vi-VN" dirty="0"/>
          </a:p>
          <a:p>
            <a:pPr marL="0" indent="0" algn="just">
              <a:buNone/>
            </a:pPr>
            <a:r>
              <a:rPr lang="vi-VN" dirty="0"/>
              <a:t>Di căn </a:t>
            </a:r>
            <a:r>
              <a:rPr lang="vi-VN" dirty="0" err="1"/>
              <a:t>phúc</a:t>
            </a:r>
            <a:r>
              <a:rPr lang="vi-VN" dirty="0"/>
              <a:t> </a:t>
            </a:r>
            <a:r>
              <a:rPr lang="vi-VN" dirty="0" err="1"/>
              <a:t>mạc</a:t>
            </a:r>
            <a:r>
              <a:rPr lang="vi-VN" dirty="0"/>
              <a:t>: </a:t>
            </a:r>
            <a:r>
              <a:rPr lang="vi-VN" dirty="0" err="1"/>
              <a:t>phúc</a:t>
            </a:r>
            <a:r>
              <a:rPr lang="vi-VN" dirty="0"/>
              <a:t> </a:t>
            </a:r>
            <a:r>
              <a:rPr lang="vi-VN" dirty="0" err="1"/>
              <a:t>mạc</a:t>
            </a:r>
            <a:r>
              <a:rPr lang="vi-VN" dirty="0"/>
              <a:t> </a:t>
            </a:r>
            <a:r>
              <a:rPr lang="vi-VN" dirty="0" err="1"/>
              <a:t>dày</a:t>
            </a:r>
            <a:r>
              <a:rPr lang="vi-VN" dirty="0"/>
              <a:t> lên </a:t>
            </a:r>
            <a:r>
              <a:rPr lang="vi-VN" dirty="0" err="1"/>
              <a:t>và</a:t>
            </a:r>
            <a:r>
              <a:rPr lang="vi-VN" dirty="0"/>
              <a:t> tăng </a:t>
            </a:r>
            <a:r>
              <a:rPr lang="vi-VN" dirty="0" err="1"/>
              <a:t>ngấm</a:t>
            </a:r>
            <a:r>
              <a:rPr lang="vi-VN" dirty="0"/>
              <a:t> </a:t>
            </a:r>
            <a:r>
              <a:rPr lang="vi-VN" dirty="0" err="1"/>
              <a:t>thuốc</a:t>
            </a:r>
            <a:r>
              <a:rPr lang="vi-VN" dirty="0"/>
              <a:t>; </a:t>
            </a:r>
            <a:r>
              <a:rPr lang="vi-VN" dirty="0" err="1"/>
              <a:t>mạc</a:t>
            </a:r>
            <a:r>
              <a:rPr lang="vi-VN" dirty="0"/>
              <a:t> treo </a:t>
            </a:r>
            <a:r>
              <a:rPr lang="vi-VN" dirty="0" err="1"/>
              <a:t>bện</a:t>
            </a:r>
            <a:r>
              <a:rPr lang="vi-VN" dirty="0"/>
              <a:t> </a:t>
            </a:r>
            <a:r>
              <a:rPr lang="vi-VN" dirty="0" err="1"/>
              <a:t>xoắn</a:t>
            </a:r>
            <a:r>
              <a:rPr lang="vi-VN" dirty="0"/>
              <a:t> </a:t>
            </a:r>
            <a:r>
              <a:rPr lang="vi-VN" dirty="0" err="1"/>
              <a:t>thành</a:t>
            </a:r>
            <a:r>
              <a:rPr lang="vi-VN" dirty="0"/>
              <a:t> </a:t>
            </a:r>
            <a:r>
              <a:rPr lang="vi-VN" dirty="0" err="1"/>
              <a:t>đám</a:t>
            </a:r>
            <a:r>
              <a:rPr lang="vi-VN" dirty="0"/>
              <a:t>, </a:t>
            </a:r>
            <a:r>
              <a:rPr lang="vi-VN" dirty="0" err="1"/>
              <a:t>dày</a:t>
            </a:r>
            <a:r>
              <a:rPr lang="vi-VN" dirty="0"/>
              <a:t> </a:t>
            </a:r>
            <a:r>
              <a:rPr lang="vi-VN" dirty="0" err="1"/>
              <a:t>hình</a:t>
            </a:r>
            <a:r>
              <a:rPr lang="vi-VN" dirty="0"/>
              <a:t> sao,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nếp</a:t>
            </a:r>
            <a:r>
              <a:rPr lang="vi-VN" dirty="0"/>
              <a:t> </a:t>
            </a:r>
            <a:r>
              <a:rPr lang="vi-VN" dirty="0" err="1"/>
              <a:t>gấp</a:t>
            </a:r>
            <a:r>
              <a:rPr lang="vi-VN" dirty="0"/>
              <a:t> </a:t>
            </a:r>
            <a:r>
              <a:rPr lang="vi-VN" dirty="0" err="1"/>
              <a:t>hoặc</a:t>
            </a:r>
            <a:r>
              <a:rPr lang="vi-VN" dirty="0"/>
              <a:t> </a:t>
            </a:r>
            <a:r>
              <a:rPr lang="vi-VN" dirty="0" err="1"/>
              <a:t>thành</a:t>
            </a:r>
            <a:r>
              <a:rPr lang="vi-VN" dirty="0"/>
              <a:t> </a:t>
            </a:r>
            <a:r>
              <a:rPr lang="vi-VN" dirty="0" err="1"/>
              <a:t>đám</a:t>
            </a:r>
            <a:r>
              <a:rPr lang="vi-VN" dirty="0"/>
              <a:t> </a:t>
            </a:r>
            <a:r>
              <a:rPr lang="vi-VN" dirty="0" err="1"/>
              <a:t>lớn</a:t>
            </a:r>
            <a:r>
              <a:rPr lang="vi-VN" dirty="0"/>
              <a:t>;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nốt</a:t>
            </a:r>
            <a:r>
              <a:rPr lang="vi-VN" dirty="0"/>
              <a:t> </a:t>
            </a:r>
            <a:r>
              <a:rPr lang="vi-VN" dirty="0" err="1"/>
              <a:t>hoặc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mảng</a:t>
            </a:r>
            <a:r>
              <a:rPr lang="vi-VN" dirty="0"/>
              <a:t>/</a:t>
            </a:r>
            <a:r>
              <a:rPr lang="vi-VN" dirty="0" err="1"/>
              <a:t>dải</a:t>
            </a:r>
            <a:r>
              <a:rPr lang="vi-VN" dirty="0"/>
              <a:t> </a:t>
            </a:r>
            <a:r>
              <a:rPr lang="vi-VN" dirty="0" err="1"/>
              <a:t>tỷ</a:t>
            </a:r>
            <a:r>
              <a:rPr lang="vi-VN" dirty="0"/>
              <a:t> </a:t>
            </a:r>
            <a:r>
              <a:rPr lang="vi-VN" dirty="0" err="1"/>
              <a:t>trọng</a:t>
            </a:r>
            <a:r>
              <a:rPr lang="vi-VN" dirty="0"/>
              <a:t> mô </a:t>
            </a:r>
            <a:r>
              <a:rPr lang="vi-VN" dirty="0" err="1"/>
              <a:t>mềm</a:t>
            </a:r>
            <a:r>
              <a:rPr lang="vi-VN" dirty="0"/>
              <a:t>;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ảnh</a:t>
            </a:r>
            <a:r>
              <a:rPr lang="vi-VN" dirty="0"/>
              <a:t> </a:t>
            </a:r>
            <a:r>
              <a:rPr lang="vi-VN" dirty="0" err="1"/>
              <a:t>bánh</a:t>
            </a:r>
            <a:r>
              <a:rPr lang="vi-VN" dirty="0"/>
              <a:t> </a:t>
            </a:r>
            <a:r>
              <a:rPr lang="vi-VN" dirty="0" err="1"/>
              <a:t>mạc</a:t>
            </a:r>
            <a:r>
              <a:rPr lang="vi-VN" dirty="0"/>
              <a:t> </a:t>
            </a:r>
            <a:r>
              <a:rPr lang="vi-VN" dirty="0" err="1"/>
              <a:t>nối</a:t>
            </a:r>
            <a:r>
              <a:rPr lang="vi-VN" dirty="0"/>
              <a:t>; </a:t>
            </a:r>
            <a:r>
              <a:rPr lang="vi-VN" dirty="0" err="1"/>
              <a:t>thành</a:t>
            </a:r>
            <a:r>
              <a:rPr lang="vi-VN" dirty="0"/>
              <a:t> </a:t>
            </a:r>
            <a:r>
              <a:rPr lang="vi-VN" dirty="0" err="1"/>
              <a:t>ruột</a:t>
            </a:r>
            <a:r>
              <a:rPr lang="vi-VN" dirty="0"/>
              <a:t> </a:t>
            </a:r>
            <a:r>
              <a:rPr lang="vi-VN" dirty="0" err="1"/>
              <a:t>dày</a:t>
            </a:r>
            <a:r>
              <a:rPr lang="vi-VN" dirty="0"/>
              <a:t> lên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ổn</a:t>
            </a:r>
            <a:r>
              <a:rPr lang="vi-VN" dirty="0"/>
              <a:t> thương </a:t>
            </a:r>
            <a:r>
              <a:rPr lang="vi-VN" dirty="0" err="1"/>
              <a:t>dạng</a:t>
            </a:r>
            <a:r>
              <a:rPr lang="vi-VN" dirty="0"/>
              <a:t> </a:t>
            </a:r>
            <a:r>
              <a:rPr lang="vi-VN" dirty="0" err="1"/>
              <a:t>nốt</a:t>
            </a:r>
            <a:endParaRPr lang="vi-VN" dirty="0"/>
          </a:p>
          <a:p>
            <a:pPr marL="0" indent="0" algn="just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1601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E7503ED4-2478-ECC9-025D-7039C252F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AC182D92-58A5-6CFA-33AF-16F9028B1C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CT SCAN BỤNG CHẬU CÓ CẢN QUANG</a:t>
            </a:r>
          </a:p>
          <a:p>
            <a:pPr marL="0" indent="0" algn="just">
              <a:buNone/>
            </a:pPr>
            <a:r>
              <a:rPr lang="en-US" dirty="0" err="1"/>
              <a:t>d.Đánh</a:t>
            </a:r>
            <a:r>
              <a:rPr lang="en-US" dirty="0"/>
              <a:t> </a:t>
            </a:r>
            <a:r>
              <a:rPr lang="en-US" dirty="0" err="1"/>
              <a:t>giá</a:t>
            </a:r>
            <a:r>
              <a:rPr lang="en-US" dirty="0"/>
              <a:t> </a:t>
            </a:r>
            <a:r>
              <a:rPr lang="en-US" dirty="0" err="1"/>
              <a:t>khả</a:t>
            </a:r>
            <a:r>
              <a:rPr lang="en-US" dirty="0"/>
              <a:t> </a:t>
            </a:r>
            <a:r>
              <a:rPr lang="en-US" dirty="0" err="1"/>
              <a:t>năng</a:t>
            </a:r>
            <a:r>
              <a:rPr lang="en-US" dirty="0"/>
              <a:t> </a:t>
            </a:r>
            <a:r>
              <a:rPr lang="en-US" dirty="0" err="1"/>
              <a:t>phẫu</a:t>
            </a:r>
            <a:r>
              <a:rPr lang="en-US" dirty="0"/>
              <a:t> </a:t>
            </a:r>
            <a:r>
              <a:rPr lang="en-US" dirty="0" err="1"/>
              <a:t>thuật</a:t>
            </a:r>
            <a:r>
              <a:rPr lang="en-US" dirty="0"/>
              <a:t>:</a:t>
            </a:r>
          </a:p>
          <a:p>
            <a:pPr marL="0" indent="0" algn="just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6" name="Bảng 6">
            <a:extLst>
              <a:ext uri="{FF2B5EF4-FFF2-40B4-BE49-F238E27FC236}">
                <a16:creationId xmlns:a16="http://schemas.microsoft.com/office/drawing/2014/main" id="{1A7CD783-5606-6D10-5881-158EB82D8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886128"/>
              </p:ext>
            </p:extLst>
          </p:nvPr>
        </p:nvGraphicFramePr>
        <p:xfrm>
          <a:off x="838198" y="3671455"/>
          <a:ext cx="10785765" cy="58721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55">
                  <a:extLst>
                    <a:ext uri="{9D8B030D-6E8A-4147-A177-3AD203B41FA5}">
                      <a16:colId xmlns:a16="http://schemas.microsoft.com/office/drawing/2014/main" val="1154364822"/>
                    </a:ext>
                  </a:extLst>
                </a:gridCol>
                <a:gridCol w="3595255">
                  <a:extLst>
                    <a:ext uri="{9D8B030D-6E8A-4147-A177-3AD203B41FA5}">
                      <a16:colId xmlns:a16="http://schemas.microsoft.com/office/drawing/2014/main" val="3550052138"/>
                    </a:ext>
                  </a:extLst>
                </a:gridCol>
                <a:gridCol w="3595255">
                  <a:extLst>
                    <a:ext uri="{9D8B030D-6E8A-4147-A177-3AD203B41FA5}">
                      <a16:colId xmlns:a16="http://schemas.microsoft.com/office/drawing/2014/main" val="4039645872"/>
                    </a:ext>
                  </a:extLst>
                </a:gridCol>
              </a:tblGrid>
              <a:tr h="660111">
                <a:tc>
                  <a:txBody>
                    <a:bodyPr/>
                    <a:lstStyle/>
                    <a:p>
                      <a:r>
                        <a:rPr lang="en-US" dirty="0" err="1"/>
                        <a:t>Kh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ă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ẫ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ật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Độ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ạch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Tĩ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ạch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481990"/>
                  </a:ext>
                </a:extLst>
              </a:tr>
              <a:tr h="660111">
                <a:tc>
                  <a:txBody>
                    <a:bodyPr/>
                    <a:lstStyle/>
                    <a:p>
                      <a:r>
                        <a:rPr lang="vi-VN" dirty="0" err="1"/>
                        <a:t>Cắt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bỏ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ược</a:t>
                      </a:r>
                      <a:endParaRPr lang="vi-VN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Khô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xâ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ấ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ộ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ạch</a:t>
                      </a:r>
                      <a:r>
                        <a:rPr lang="en-US" dirty="0"/>
                        <a:t> (ĐM </a:t>
                      </a:r>
                      <a:r>
                        <a:rPr lang="en-US" dirty="0" err="1"/>
                        <a:t>t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ạng</a:t>
                      </a:r>
                      <a:r>
                        <a:rPr lang="en-US" dirty="0"/>
                        <a:t>, ĐM MMTT, ĐM </a:t>
                      </a:r>
                      <a:r>
                        <a:rPr lang="en-US" dirty="0" err="1"/>
                        <a:t>ga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ung</a:t>
                      </a:r>
                      <a:r>
                        <a:rPr lang="en-US" dirty="0"/>
                        <a:t>)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vi-VN" dirty="0"/>
                        <a:t>Không 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TM MMTT hay TMC, </a:t>
                      </a:r>
                      <a:r>
                        <a:rPr lang="vi-VN" dirty="0" err="1"/>
                        <a:t>có</a:t>
                      </a:r>
                      <a:r>
                        <a:rPr lang="vi-VN" dirty="0"/>
                        <a:t>  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nhưng chu vi </a:t>
                      </a:r>
                      <a:r>
                        <a:rPr lang="vi-VN" dirty="0" err="1"/>
                        <a:t>tiếp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xúc</a:t>
                      </a:r>
                      <a:r>
                        <a:rPr lang="vi-VN" dirty="0"/>
                        <a:t> không liên </a:t>
                      </a:r>
                      <a:r>
                        <a:rPr lang="vi-VN" dirty="0" err="1"/>
                        <a:t>tục</a:t>
                      </a:r>
                      <a:r>
                        <a:rPr lang="vi-VN" dirty="0"/>
                        <a:t> &lt; 180o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9215105"/>
                  </a:ext>
                </a:extLst>
              </a:tr>
              <a:tr h="660111">
                <a:tc>
                  <a:txBody>
                    <a:bodyPr/>
                    <a:lstStyle/>
                    <a:p>
                      <a:r>
                        <a:rPr lang="en-US" dirty="0" err="1"/>
                        <a:t>Bờ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ắt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ò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ế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bào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á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vi-VN" dirty="0"/>
                        <a:t>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ĐM gan chung nhưng không 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ộng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mạch</a:t>
                      </a:r>
                      <a:r>
                        <a:rPr lang="vi-VN" dirty="0"/>
                        <a:t> thân </a:t>
                      </a:r>
                      <a:r>
                        <a:rPr lang="vi-VN" dirty="0" err="1"/>
                        <a:t>tạng</a:t>
                      </a:r>
                      <a:r>
                        <a:rPr lang="vi-VN" dirty="0"/>
                        <a:t>.</a:t>
                      </a:r>
                    </a:p>
                    <a:p>
                      <a:r>
                        <a:rPr lang="vi-VN" dirty="0"/>
                        <a:t>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ĐM MTTT ≤ 180o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vi-VN" dirty="0"/>
                        <a:t>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TM MTTT hay TMC &gt; 180o, hay 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≤ 180o </a:t>
                      </a:r>
                      <a:r>
                        <a:rPr lang="vi-VN" dirty="0" err="1"/>
                        <a:t>kèm</a:t>
                      </a:r>
                      <a:r>
                        <a:rPr lang="vi-VN" dirty="0"/>
                        <a:t> chu vi </a:t>
                      </a:r>
                      <a:r>
                        <a:rPr lang="vi-VN" dirty="0" err="1"/>
                        <a:t>tiếp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xúc</a:t>
                      </a:r>
                      <a:r>
                        <a:rPr lang="vi-VN" dirty="0"/>
                        <a:t> không liên </a:t>
                      </a:r>
                      <a:r>
                        <a:rPr lang="vi-VN" dirty="0" err="1"/>
                        <a:t>tục</a:t>
                      </a:r>
                      <a:r>
                        <a:rPr lang="vi-VN" dirty="0"/>
                        <a:t> hay </a:t>
                      </a:r>
                      <a:r>
                        <a:rPr lang="vi-VN" dirty="0" err="1"/>
                        <a:t>có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huyết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khối</a:t>
                      </a:r>
                      <a:r>
                        <a:rPr lang="vi-VN" dirty="0"/>
                        <a:t> nhưng </a:t>
                      </a:r>
                      <a:r>
                        <a:rPr lang="vi-VN" dirty="0" err="1"/>
                        <a:t>có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thể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cắt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bỏ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và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tạo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hình</a:t>
                      </a:r>
                      <a:r>
                        <a:rPr lang="vi-VN" dirty="0"/>
                        <a:t>.</a:t>
                      </a:r>
                    </a:p>
                    <a:p>
                      <a:r>
                        <a:rPr lang="vi-VN" dirty="0"/>
                        <a:t>Xâm </a:t>
                      </a:r>
                      <a:r>
                        <a:rPr lang="vi-VN" dirty="0" err="1"/>
                        <a:t>lấn</a:t>
                      </a:r>
                      <a:r>
                        <a:rPr lang="vi-VN" dirty="0"/>
                        <a:t> TM </a:t>
                      </a:r>
                      <a:r>
                        <a:rPr lang="vi-VN" dirty="0" err="1"/>
                        <a:t>chủ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dưới</a:t>
                      </a:r>
                      <a:endParaRPr lang="vi-VN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0961545"/>
                  </a:ext>
                </a:extLst>
              </a:tr>
              <a:tr h="660111">
                <a:tc>
                  <a:txBody>
                    <a:bodyPr/>
                    <a:lstStyle/>
                    <a:p>
                      <a:r>
                        <a:rPr lang="vi-VN" dirty="0"/>
                        <a:t>Không </a:t>
                      </a:r>
                      <a:r>
                        <a:rPr lang="vi-VN" dirty="0" err="1"/>
                        <a:t>cắt</a:t>
                      </a:r>
                      <a:r>
                        <a:rPr lang="vi-VN" dirty="0"/>
                        <a:t> </a:t>
                      </a:r>
                      <a:r>
                        <a:rPr lang="vi-VN" dirty="0" err="1"/>
                        <a:t>được</a:t>
                      </a:r>
                      <a:endParaRPr lang="vi-VN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 </a:t>
                      </a:r>
                      <a:r>
                        <a:rPr lang="en-US" dirty="0" err="1"/>
                        <a:t>că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xa</a:t>
                      </a:r>
                      <a:r>
                        <a:rPr lang="en-US" dirty="0"/>
                        <a:t> (bao </a:t>
                      </a:r>
                      <a:r>
                        <a:rPr lang="en-US" dirty="0" err="1"/>
                        <a:t>gồm</a:t>
                      </a:r>
                      <a:r>
                        <a:rPr lang="en-US" dirty="0"/>
                        <a:t> di </a:t>
                      </a:r>
                      <a:r>
                        <a:rPr lang="en-US" dirty="0" err="1"/>
                        <a:t>că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ó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ạc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goà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ùng</a:t>
                      </a:r>
                      <a:r>
                        <a:rPr lang="en-US" dirty="0"/>
                        <a:t>)</a:t>
                      </a:r>
                    </a:p>
                    <a:p>
                      <a:r>
                        <a:rPr lang="en-US" dirty="0" err="1"/>
                        <a:t>Xâ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ấn</a:t>
                      </a:r>
                      <a:r>
                        <a:rPr lang="en-US" dirty="0"/>
                        <a:t> ĐM MTTT &gt; 180o</a:t>
                      </a:r>
                    </a:p>
                    <a:p>
                      <a:r>
                        <a:rPr lang="en-US" dirty="0" err="1"/>
                        <a:t>Xâ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ấn</a:t>
                      </a:r>
                      <a:r>
                        <a:rPr lang="en-US" dirty="0"/>
                        <a:t> ĐM </a:t>
                      </a:r>
                      <a:r>
                        <a:rPr lang="en-US" dirty="0" err="1"/>
                        <a:t>t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ạng</a:t>
                      </a:r>
                      <a:r>
                        <a:rPr lang="en-US" dirty="0"/>
                        <a:t> &gt; 180o</a:t>
                      </a:r>
                    </a:p>
                    <a:p>
                      <a:r>
                        <a:rPr lang="en-US" dirty="0" err="1"/>
                        <a:t>Xâ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ấ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ánh</a:t>
                      </a:r>
                      <a:r>
                        <a:rPr lang="en-US" dirty="0"/>
                        <a:t> ĐM </a:t>
                      </a:r>
                      <a:r>
                        <a:rPr lang="en-US" dirty="0" err="1"/>
                        <a:t>hỗ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à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ầ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iên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Khô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ể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ạo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ình</a:t>
                      </a:r>
                      <a:r>
                        <a:rPr lang="en-US" dirty="0"/>
                        <a:t> TM MMTT hay TMC do u </a:t>
                      </a:r>
                      <a:r>
                        <a:rPr lang="en-US" dirty="0" err="1"/>
                        <a:t>xâ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ấn</a:t>
                      </a:r>
                      <a:r>
                        <a:rPr lang="en-US" dirty="0"/>
                        <a:t> hay </a:t>
                      </a:r>
                      <a:r>
                        <a:rPr lang="en-US" dirty="0" err="1"/>
                        <a:t>thuyế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ắc</a:t>
                      </a:r>
                      <a:r>
                        <a:rPr lang="en-US" dirty="0"/>
                        <a:t>.</a:t>
                      </a:r>
                    </a:p>
                    <a:p>
                      <a:r>
                        <a:rPr lang="en-US" dirty="0" err="1"/>
                        <a:t>Xâm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ấ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ầ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ết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oạ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ầ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ủ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ánh</a:t>
                      </a:r>
                      <a:r>
                        <a:rPr lang="en-US" dirty="0"/>
                        <a:t> TM </a:t>
                      </a:r>
                      <a:r>
                        <a:rPr lang="en-US" dirty="0" err="1"/>
                        <a:t>hỗ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àng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ầ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iên</a:t>
                      </a:r>
                      <a:r>
                        <a:rPr lang="en-US" dirty="0"/>
                        <a:t>.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426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96989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5866291-26AE-FA2E-8438-AA03710F53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6144DAE9-0933-5739-E747-9023B4D66F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 algn="ctr">
              <a:buNone/>
            </a:pPr>
            <a:r>
              <a:rPr lang="en-US" dirty="0"/>
              <a:t>SIÊU ÂM NỘI SOI - Endoscopic ultrasound (EUS)</a:t>
            </a:r>
          </a:p>
          <a:p>
            <a:pPr marL="0" indent="0">
              <a:buNone/>
            </a:pPr>
            <a:r>
              <a:rPr lang="vi-VN" dirty="0"/>
              <a:t>Ưu </a:t>
            </a:r>
            <a:r>
              <a:rPr lang="vi-VN" dirty="0" err="1"/>
              <a:t>điểm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Đánh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xâm </a:t>
            </a:r>
            <a:r>
              <a:rPr lang="vi-VN" dirty="0" err="1"/>
              <a:t>lấn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</a:t>
            </a:r>
            <a:r>
              <a:rPr lang="vi-VN" dirty="0" err="1"/>
              <a:t>máu</a:t>
            </a:r>
            <a:r>
              <a:rPr lang="vi-VN" dirty="0"/>
              <a:t>, di căn </a:t>
            </a:r>
            <a:r>
              <a:rPr lang="vi-VN" dirty="0" err="1"/>
              <a:t>hạch</a:t>
            </a:r>
            <a:r>
              <a:rPr lang="vi-VN" dirty="0"/>
              <a:t> </a:t>
            </a:r>
            <a:r>
              <a:rPr lang="vi-VN" dirty="0" err="1"/>
              <a:t>tốt</a:t>
            </a:r>
            <a:r>
              <a:rPr lang="vi-VN" dirty="0"/>
              <a:t> hơn CT</a:t>
            </a:r>
          </a:p>
          <a:p>
            <a:pPr marL="0" indent="0">
              <a:buNone/>
            </a:pPr>
            <a:r>
              <a:rPr lang="vi-VN" dirty="0" err="1"/>
              <a:t>Khảo</a:t>
            </a:r>
            <a:r>
              <a:rPr lang="vi-VN" dirty="0"/>
              <a:t> </a:t>
            </a:r>
            <a:r>
              <a:rPr lang="vi-VN" dirty="0" err="1"/>
              <a:t>sát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khối</a:t>
            </a:r>
            <a:r>
              <a:rPr lang="vi-VN" dirty="0"/>
              <a:t> u </a:t>
            </a:r>
            <a:r>
              <a:rPr lang="vi-VN" dirty="0" err="1"/>
              <a:t>dưới</a:t>
            </a:r>
            <a:r>
              <a:rPr lang="vi-VN" dirty="0"/>
              <a:t> 2 </a:t>
            </a:r>
            <a:r>
              <a:rPr lang="vi-VN" dirty="0" err="1"/>
              <a:t>cm</a:t>
            </a:r>
            <a:r>
              <a:rPr lang="vi-VN" dirty="0"/>
              <a:t> </a:t>
            </a:r>
            <a:r>
              <a:rPr lang="vi-VN" dirty="0" err="1"/>
              <a:t>mà</a:t>
            </a:r>
            <a:r>
              <a:rPr lang="vi-VN" dirty="0"/>
              <a:t> CT </a:t>
            </a:r>
            <a:r>
              <a:rPr lang="vi-VN" dirty="0" err="1"/>
              <a:t>scan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</a:t>
            </a:r>
            <a:r>
              <a:rPr lang="vi-VN" dirty="0" err="1"/>
              <a:t>bỏ</a:t>
            </a:r>
            <a:r>
              <a:rPr lang="vi-VN" dirty="0"/>
              <a:t> </a:t>
            </a:r>
            <a:r>
              <a:rPr lang="vi-VN" dirty="0" err="1"/>
              <a:t>sót</a:t>
            </a:r>
            <a:r>
              <a:rPr lang="vi-VN" dirty="0"/>
              <a:t>.</a:t>
            </a:r>
          </a:p>
          <a:p>
            <a:pPr marL="0" indent="0">
              <a:buNone/>
            </a:pP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sinh </a:t>
            </a:r>
            <a:r>
              <a:rPr lang="vi-VN" dirty="0" err="1"/>
              <a:t>thiết</a:t>
            </a:r>
            <a:r>
              <a:rPr lang="vi-VN" dirty="0"/>
              <a:t> </a:t>
            </a:r>
            <a:r>
              <a:rPr lang="vi-VN" dirty="0" err="1"/>
              <a:t>làm</a:t>
            </a:r>
            <a:r>
              <a:rPr lang="vi-VN" dirty="0"/>
              <a:t> mô </a:t>
            </a:r>
            <a:r>
              <a:rPr lang="vi-VN" dirty="0" err="1"/>
              <a:t>bệnh</a:t>
            </a:r>
            <a:r>
              <a:rPr lang="vi-VN" dirty="0"/>
              <a:t> </a:t>
            </a:r>
            <a:r>
              <a:rPr lang="vi-VN" dirty="0" err="1"/>
              <a:t>học</a:t>
            </a:r>
            <a:r>
              <a:rPr lang="vi-VN" dirty="0"/>
              <a:t> </a:t>
            </a:r>
            <a:r>
              <a:rPr lang="vi-VN" dirty="0" err="1"/>
              <a:t>trước</a:t>
            </a:r>
            <a:r>
              <a:rPr lang="vi-VN" dirty="0"/>
              <a:t> </a:t>
            </a:r>
            <a:r>
              <a:rPr lang="vi-VN" dirty="0" err="1"/>
              <a:t>mổ</a:t>
            </a:r>
            <a:r>
              <a:rPr lang="vi-VN" dirty="0"/>
              <a:t> (EUS – FNA)</a:t>
            </a:r>
          </a:p>
          <a:p>
            <a:pPr marL="0" indent="0">
              <a:buNone/>
            </a:pPr>
            <a:r>
              <a:rPr lang="vi-VN" dirty="0" err="1"/>
              <a:t>Hạn</a:t>
            </a:r>
            <a:r>
              <a:rPr lang="vi-VN" dirty="0"/>
              <a:t> </a:t>
            </a:r>
            <a:r>
              <a:rPr lang="vi-VN" dirty="0" err="1"/>
              <a:t>chế</a:t>
            </a:r>
            <a:r>
              <a:rPr lang="vi-VN" dirty="0"/>
              <a:t>: </a:t>
            </a:r>
          </a:p>
          <a:p>
            <a:pPr marL="0" indent="0">
              <a:buNone/>
            </a:pPr>
            <a:r>
              <a:rPr lang="vi-VN" dirty="0" err="1"/>
              <a:t>Phụ</a:t>
            </a:r>
            <a:r>
              <a:rPr lang="vi-VN" dirty="0"/>
              <a:t> </a:t>
            </a:r>
            <a:r>
              <a:rPr lang="vi-VN" dirty="0" err="1"/>
              <a:t>thuộc</a:t>
            </a:r>
            <a:r>
              <a:rPr lang="vi-VN" dirty="0"/>
              <a:t> </a:t>
            </a:r>
            <a:r>
              <a:rPr lang="vi-VN" dirty="0" err="1"/>
              <a:t>người</a:t>
            </a:r>
            <a:r>
              <a:rPr lang="vi-VN" dirty="0"/>
              <a:t> </a:t>
            </a:r>
            <a:r>
              <a:rPr lang="vi-VN" dirty="0" err="1"/>
              <a:t>thực</a:t>
            </a:r>
            <a:r>
              <a:rPr lang="vi-VN" dirty="0"/>
              <a:t> </a:t>
            </a:r>
            <a:r>
              <a:rPr lang="vi-VN" dirty="0" err="1"/>
              <a:t>hiện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Xâm </a:t>
            </a:r>
            <a:r>
              <a:rPr lang="vi-VN" dirty="0" err="1"/>
              <a:t>lấn</a:t>
            </a:r>
            <a:r>
              <a:rPr lang="vi-VN" dirty="0"/>
              <a:t>, nguy cơ gây </a:t>
            </a:r>
            <a:r>
              <a:rPr lang="vi-VN" dirty="0" err="1"/>
              <a:t>biến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: </a:t>
            </a:r>
            <a:r>
              <a:rPr lang="vi-VN" dirty="0" err="1"/>
              <a:t>chảy</a:t>
            </a:r>
            <a:r>
              <a:rPr lang="vi-VN" dirty="0"/>
              <a:t> </a:t>
            </a:r>
            <a:r>
              <a:rPr lang="vi-VN" dirty="0" err="1"/>
              <a:t>máu</a:t>
            </a:r>
            <a:r>
              <a:rPr lang="vi-VN" dirty="0"/>
              <a:t>, </a:t>
            </a:r>
            <a:r>
              <a:rPr lang="vi-VN" dirty="0" err="1"/>
              <a:t>thủng</a:t>
            </a:r>
            <a:r>
              <a:rPr lang="vi-VN" dirty="0"/>
              <a:t> </a:t>
            </a:r>
            <a:r>
              <a:rPr lang="vi-VN" dirty="0" err="1"/>
              <a:t>tá</a:t>
            </a:r>
            <a:r>
              <a:rPr lang="vi-VN" dirty="0"/>
              <a:t> </a:t>
            </a:r>
            <a:r>
              <a:rPr lang="vi-VN" dirty="0" err="1"/>
              <a:t>tràng</a:t>
            </a:r>
            <a:r>
              <a:rPr lang="vi-VN" dirty="0"/>
              <a:t>, viêm </a:t>
            </a:r>
            <a:r>
              <a:rPr lang="vi-VN" dirty="0" err="1"/>
              <a:t>tuỵ</a:t>
            </a:r>
            <a:r>
              <a:rPr lang="vi-VN" dirty="0"/>
              <a:t> (0.1-1%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5439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1555006-6422-7857-187C-E3C4AFB26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2A58D620-B3C0-21E5-CCE5-0607399C88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>
              <a:buNone/>
            </a:pPr>
            <a:r>
              <a:rPr lang="vi-VN" dirty="0"/>
              <a:t>CHỤP CỘNG HƯỞNG TỪ MẬT TUỴ - </a:t>
            </a:r>
            <a:r>
              <a:rPr lang="vi-VN" dirty="0" err="1"/>
              <a:t>Magnetic</a:t>
            </a:r>
            <a:r>
              <a:rPr lang="vi-VN" dirty="0"/>
              <a:t> </a:t>
            </a:r>
            <a:r>
              <a:rPr lang="vi-VN" dirty="0" err="1"/>
              <a:t>Resonance</a:t>
            </a:r>
            <a:r>
              <a:rPr lang="vi-VN" dirty="0"/>
              <a:t> </a:t>
            </a:r>
            <a:r>
              <a:rPr lang="vi-VN" dirty="0" err="1"/>
              <a:t>Cholangiopancreatography</a:t>
            </a:r>
            <a:r>
              <a:rPr lang="vi-VN" dirty="0"/>
              <a:t> (MRCP)</a:t>
            </a:r>
          </a:p>
          <a:p>
            <a:pPr marL="0" indent="0">
              <a:buNone/>
            </a:pPr>
            <a:r>
              <a:rPr lang="vi-VN" dirty="0"/>
              <a:t>Không xâm </a:t>
            </a:r>
            <a:r>
              <a:rPr lang="vi-VN" dirty="0" err="1"/>
              <a:t>lấn</a:t>
            </a:r>
            <a:r>
              <a:rPr lang="vi-VN" dirty="0"/>
              <a:t>, </a:t>
            </a:r>
            <a:r>
              <a:rPr lang="vi-VN" dirty="0" err="1"/>
              <a:t>khảo</a:t>
            </a:r>
            <a:r>
              <a:rPr lang="vi-VN" dirty="0"/>
              <a:t> </a:t>
            </a:r>
            <a:r>
              <a:rPr lang="vi-VN" dirty="0" err="1"/>
              <a:t>sát</a:t>
            </a:r>
            <a:r>
              <a:rPr lang="vi-VN" dirty="0"/>
              <a:t> cây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,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tụy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mạch</a:t>
            </a:r>
            <a:r>
              <a:rPr lang="vi-VN" dirty="0"/>
              <a:t> </a:t>
            </a:r>
            <a:r>
              <a:rPr lang="vi-VN" dirty="0" err="1"/>
              <a:t>máu</a:t>
            </a:r>
            <a:r>
              <a:rPr lang="vi-VN" dirty="0"/>
              <a:t> liên quan</a:t>
            </a:r>
          </a:p>
          <a:p>
            <a:pPr marL="0" indent="0">
              <a:buNone/>
            </a:pP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nhạy</a:t>
            </a:r>
            <a:r>
              <a:rPr lang="vi-VN" dirty="0"/>
              <a:t> cao hơn so </a:t>
            </a:r>
            <a:r>
              <a:rPr lang="vi-VN" dirty="0" err="1"/>
              <a:t>với</a:t>
            </a:r>
            <a:r>
              <a:rPr lang="vi-VN" dirty="0"/>
              <a:t> CT </a:t>
            </a:r>
            <a:r>
              <a:rPr lang="vi-VN" dirty="0" err="1"/>
              <a:t>Scan</a:t>
            </a:r>
            <a:r>
              <a:rPr lang="vi-VN" dirty="0"/>
              <a:t> (</a:t>
            </a:r>
            <a:r>
              <a:rPr lang="vi-VN" dirty="0" err="1"/>
              <a:t>đặc</a:t>
            </a:r>
            <a:r>
              <a:rPr lang="vi-VN" dirty="0"/>
              <a:t> </a:t>
            </a:r>
            <a:r>
              <a:rPr lang="vi-VN" dirty="0" err="1"/>
              <a:t>biệt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đối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những</a:t>
            </a:r>
            <a:r>
              <a:rPr lang="vi-VN" dirty="0"/>
              <a:t> U &lt; 2cm, u </a:t>
            </a:r>
            <a:r>
              <a:rPr lang="vi-VN" dirty="0" err="1"/>
              <a:t>đoạn</a:t>
            </a:r>
            <a:r>
              <a:rPr lang="vi-VN" dirty="0"/>
              <a:t> </a:t>
            </a:r>
            <a:r>
              <a:rPr lang="vi-VN" dirty="0" err="1"/>
              <a:t>cuối</a:t>
            </a:r>
            <a:r>
              <a:rPr lang="vi-VN" dirty="0"/>
              <a:t>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chủ</a:t>
            </a:r>
            <a:r>
              <a:rPr lang="vi-VN" dirty="0"/>
              <a:t>)</a:t>
            </a:r>
          </a:p>
          <a:p>
            <a:pPr marL="0" indent="0">
              <a:buNone/>
            </a:pPr>
            <a:r>
              <a:rPr lang="vi-VN" dirty="0"/>
              <a:t>Theo NCCN, MRI không </a:t>
            </a:r>
            <a:r>
              <a:rPr lang="vi-VN" dirty="0" err="1"/>
              <a:t>tốt</a:t>
            </a:r>
            <a:r>
              <a:rPr lang="vi-VN" dirty="0"/>
              <a:t> hơn so </a:t>
            </a:r>
            <a:r>
              <a:rPr lang="vi-VN" dirty="0" err="1"/>
              <a:t>với</a:t>
            </a:r>
            <a:r>
              <a:rPr lang="vi-VN" dirty="0"/>
              <a:t> CT </a:t>
            </a:r>
            <a:r>
              <a:rPr lang="vi-VN" dirty="0" err="1"/>
              <a:t>scan</a:t>
            </a:r>
            <a:r>
              <a:rPr lang="vi-VN" dirty="0"/>
              <a:t> trong </a:t>
            </a:r>
            <a:r>
              <a:rPr lang="vi-VN" dirty="0" err="1"/>
              <a:t>đánh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u </a:t>
            </a:r>
            <a:r>
              <a:rPr lang="vi-VN" dirty="0" err="1"/>
              <a:t>tuỵ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Không xâm </a:t>
            </a:r>
            <a:r>
              <a:rPr lang="vi-VN" dirty="0" err="1"/>
              <a:t>lấn</a:t>
            </a:r>
            <a:r>
              <a:rPr lang="vi-VN" dirty="0"/>
              <a:t> so </a:t>
            </a:r>
            <a:r>
              <a:rPr lang="vi-VN" dirty="0" err="1"/>
              <a:t>với</a:t>
            </a:r>
            <a:r>
              <a:rPr lang="vi-VN" dirty="0"/>
              <a:t> ERCP  </a:t>
            </a:r>
            <a:r>
              <a:rPr lang="vi-VN" dirty="0" err="1"/>
              <a:t>tránh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các</a:t>
            </a:r>
            <a:r>
              <a:rPr lang="vi-VN" dirty="0"/>
              <a:t> </a:t>
            </a:r>
            <a:r>
              <a:rPr lang="vi-VN" dirty="0" err="1"/>
              <a:t>biến</a:t>
            </a:r>
            <a:r>
              <a:rPr lang="vi-VN" dirty="0"/>
              <a:t> </a:t>
            </a:r>
            <a:r>
              <a:rPr lang="vi-VN" dirty="0" err="1"/>
              <a:t>chứng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Không </a:t>
            </a:r>
            <a:r>
              <a:rPr lang="vi-VN" dirty="0" err="1"/>
              <a:t>thể</a:t>
            </a:r>
            <a:r>
              <a:rPr lang="vi-VN" dirty="0"/>
              <a:t> thay </a:t>
            </a:r>
            <a:r>
              <a:rPr lang="vi-VN" dirty="0" err="1"/>
              <a:t>thế</a:t>
            </a:r>
            <a:r>
              <a:rPr lang="vi-VN" dirty="0"/>
              <a:t> ERCP trong </a:t>
            </a:r>
            <a:r>
              <a:rPr lang="vi-VN" dirty="0" err="1"/>
              <a:t>chẩn</a:t>
            </a:r>
            <a:r>
              <a:rPr lang="vi-VN" dirty="0"/>
              <a:t> </a:t>
            </a:r>
            <a:r>
              <a:rPr lang="vi-VN" dirty="0" err="1"/>
              <a:t>đoán</a:t>
            </a:r>
            <a:r>
              <a:rPr lang="vi-VN" dirty="0"/>
              <a:t> </a:t>
            </a:r>
            <a:r>
              <a:rPr lang="vi-VN" dirty="0" err="1"/>
              <a:t>tế</a:t>
            </a:r>
            <a:r>
              <a:rPr lang="vi-VN" dirty="0"/>
              <a:t> </a:t>
            </a:r>
            <a:r>
              <a:rPr lang="vi-VN" dirty="0" err="1"/>
              <a:t>bào</a:t>
            </a:r>
            <a:r>
              <a:rPr lang="vi-VN" dirty="0"/>
              <a:t> </a:t>
            </a:r>
            <a:r>
              <a:rPr lang="vi-VN" dirty="0" err="1"/>
              <a:t>học</a:t>
            </a:r>
            <a:r>
              <a:rPr lang="vi-VN" dirty="0"/>
              <a:t>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1450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530C72C6-E21D-8609-49FF-621C2C73D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1469C063-33B9-8323-BF02-FF11F25EC0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>
              <a:buNone/>
            </a:pPr>
            <a:r>
              <a:rPr lang="vi-VN" dirty="0"/>
              <a:t>NỘI SOI MẬT TUỴ NGƯỢC DÒNG - </a:t>
            </a:r>
            <a:r>
              <a:rPr lang="vi-VN" dirty="0" err="1"/>
              <a:t>Endoscopic</a:t>
            </a:r>
            <a:r>
              <a:rPr lang="vi-VN" dirty="0"/>
              <a:t> </a:t>
            </a:r>
            <a:r>
              <a:rPr lang="vi-VN" dirty="0" err="1"/>
              <a:t>Retrograde</a:t>
            </a:r>
            <a:r>
              <a:rPr lang="vi-VN" dirty="0"/>
              <a:t> </a:t>
            </a:r>
            <a:r>
              <a:rPr lang="vi-VN" dirty="0" err="1"/>
              <a:t>Cholangio</a:t>
            </a:r>
            <a:r>
              <a:rPr lang="vi-VN" dirty="0"/>
              <a:t> </a:t>
            </a:r>
            <a:r>
              <a:rPr lang="vi-VN" dirty="0" err="1"/>
              <a:t>Pancreatography</a:t>
            </a:r>
            <a:r>
              <a:rPr lang="vi-VN" dirty="0"/>
              <a:t> (</a:t>
            </a:r>
            <a:r>
              <a:rPr lang="vi-VN" dirty="0" err="1"/>
              <a:t>ercp</a:t>
            </a:r>
            <a:r>
              <a:rPr lang="vi-VN" dirty="0"/>
              <a:t>)</a:t>
            </a:r>
          </a:p>
          <a:p>
            <a:pPr marL="0" indent="0">
              <a:buNone/>
            </a:pPr>
            <a:r>
              <a:rPr lang="vi-VN" dirty="0" err="1"/>
              <a:t>Là</a:t>
            </a:r>
            <a:r>
              <a:rPr lang="vi-VN" dirty="0"/>
              <a:t> Phương </a:t>
            </a:r>
            <a:r>
              <a:rPr lang="vi-VN" dirty="0" err="1"/>
              <a:t>tiện</a:t>
            </a:r>
            <a:r>
              <a:rPr lang="vi-VN" dirty="0"/>
              <a:t> </a:t>
            </a:r>
            <a:r>
              <a:rPr lang="vi-VN" dirty="0" err="1"/>
              <a:t>chẩn</a:t>
            </a:r>
            <a:r>
              <a:rPr lang="vi-VN" dirty="0"/>
              <a:t> </a:t>
            </a:r>
            <a:r>
              <a:rPr lang="vi-VN" dirty="0" err="1"/>
              <a:t>đoán</a:t>
            </a:r>
            <a:r>
              <a:rPr lang="vi-VN" dirty="0"/>
              <a:t>:</a:t>
            </a:r>
          </a:p>
          <a:p>
            <a:pPr marL="0" indent="0">
              <a:buNone/>
            </a:pPr>
            <a:r>
              <a:rPr lang="vi-VN" dirty="0" err="1"/>
              <a:t>Hữu</a:t>
            </a:r>
            <a:r>
              <a:rPr lang="vi-VN" dirty="0"/>
              <a:t> </a:t>
            </a:r>
            <a:r>
              <a:rPr lang="vi-VN" dirty="0" err="1"/>
              <a:t>ích</a:t>
            </a:r>
            <a:r>
              <a:rPr lang="vi-VN" dirty="0"/>
              <a:t> khi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nghẽn</a:t>
            </a:r>
            <a:r>
              <a:rPr lang="vi-VN" dirty="0"/>
              <a:t>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tụy</a:t>
            </a:r>
            <a:r>
              <a:rPr lang="vi-VN" dirty="0"/>
              <a:t> nhưng không </a:t>
            </a:r>
            <a:r>
              <a:rPr lang="vi-VN" dirty="0" err="1"/>
              <a:t>thấy</a:t>
            </a:r>
            <a:r>
              <a:rPr lang="vi-VN" dirty="0"/>
              <a:t> U trên CT hay MRI</a:t>
            </a:r>
          </a:p>
          <a:p>
            <a:pPr marL="0" indent="0">
              <a:buNone/>
            </a:pPr>
            <a:r>
              <a:rPr lang="vi-VN" dirty="0"/>
              <a:t>Sinh </a:t>
            </a:r>
            <a:r>
              <a:rPr lang="vi-VN" dirty="0" err="1"/>
              <a:t>thiết</a:t>
            </a:r>
            <a:r>
              <a:rPr lang="vi-VN" dirty="0"/>
              <a:t> </a:t>
            </a:r>
            <a:r>
              <a:rPr lang="vi-VN" dirty="0" err="1"/>
              <a:t>tế</a:t>
            </a:r>
            <a:r>
              <a:rPr lang="vi-VN" dirty="0"/>
              <a:t> </a:t>
            </a:r>
            <a:r>
              <a:rPr lang="vi-VN" dirty="0" err="1"/>
              <a:t>bào</a:t>
            </a:r>
            <a:r>
              <a:rPr lang="vi-VN" dirty="0"/>
              <a:t> </a:t>
            </a:r>
            <a:r>
              <a:rPr lang="vi-VN" dirty="0" err="1"/>
              <a:t>học</a:t>
            </a:r>
            <a:r>
              <a:rPr lang="vi-VN" dirty="0"/>
              <a:t> khi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(</a:t>
            </a:r>
            <a:r>
              <a:rPr lang="vi-VN" dirty="0" err="1"/>
              <a:t>nhất</a:t>
            </a:r>
            <a:r>
              <a:rPr lang="vi-VN" dirty="0"/>
              <a:t> </a:t>
            </a:r>
            <a:r>
              <a:rPr lang="vi-VN" dirty="0" err="1"/>
              <a:t>là</a:t>
            </a:r>
            <a:r>
              <a:rPr lang="vi-VN" dirty="0"/>
              <a:t> </a:t>
            </a:r>
            <a:r>
              <a:rPr lang="vi-VN" dirty="0" err="1"/>
              <a:t>đối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mấy</a:t>
            </a:r>
            <a:r>
              <a:rPr lang="vi-VN" dirty="0"/>
              <a:t> </a:t>
            </a:r>
            <a:r>
              <a:rPr lang="vi-VN" dirty="0" err="1"/>
              <a:t>cái</a:t>
            </a:r>
            <a:r>
              <a:rPr lang="vi-VN" dirty="0"/>
              <a:t> U </a:t>
            </a:r>
            <a:r>
              <a:rPr lang="vi-VN" dirty="0" err="1"/>
              <a:t>đoạn</a:t>
            </a:r>
            <a:r>
              <a:rPr lang="vi-VN" dirty="0"/>
              <a:t> </a:t>
            </a:r>
            <a:r>
              <a:rPr lang="vi-VN" dirty="0" err="1"/>
              <a:t>cuối</a:t>
            </a:r>
            <a:r>
              <a:rPr lang="vi-VN" dirty="0"/>
              <a:t> OMC, u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 hay U </a:t>
            </a:r>
            <a:r>
              <a:rPr lang="vi-VN" dirty="0" err="1"/>
              <a:t>tá</a:t>
            </a:r>
            <a:r>
              <a:rPr lang="vi-VN" dirty="0"/>
              <a:t> </a:t>
            </a:r>
            <a:r>
              <a:rPr lang="vi-VN" dirty="0" err="1"/>
              <a:t>tràng</a:t>
            </a:r>
            <a:r>
              <a:rPr lang="vi-VN" dirty="0"/>
              <a:t> </a:t>
            </a:r>
            <a:r>
              <a:rPr lang="vi-VN" dirty="0" err="1"/>
              <a:t>đều</a:t>
            </a:r>
            <a:r>
              <a:rPr lang="vi-VN" dirty="0"/>
              <a:t> nên </a:t>
            </a:r>
            <a:r>
              <a:rPr lang="vi-VN" dirty="0" err="1"/>
              <a:t>cần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GPB </a:t>
            </a:r>
            <a:r>
              <a:rPr lang="vi-VN" dirty="0" err="1"/>
              <a:t>trước</a:t>
            </a:r>
            <a:r>
              <a:rPr lang="vi-VN" dirty="0"/>
              <a:t> khi </a:t>
            </a:r>
            <a:r>
              <a:rPr lang="vi-VN" dirty="0" err="1"/>
              <a:t>mổ</a:t>
            </a:r>
            <a:r>
              <a:rPr lang="vi-VN" dirty="0"/>
              <a:t>)</a:t>
            </a:r>
          </a:p>
          <a:p>
            <a:pPr marL="0" indent="0">
              <a:buNone/>
            </a:pPr>
            <a:r>
              <a:rPr lang="vi-VN" dirty="0" err="1"/>
              <a:t>Là</a:t>
            </a:r>
            <a:r>
              <a:rPr lang="vi-VN" dirty="0"/>
              <a:t> Phương </a:t>
            </a:r>
            <a:r>
              <a:rPr lang="vi-VN" dirty="0" err="1"/>
              <a:t>tiện</a:t>
            </a:r>
            <a:r>
              <a:rPr lang="vi-VN" dirty="0"/>
              <a:t> </a:t>
            </a:r>
            <a:r>
              <a:rPr lang="vi-VN" dirty="0" err="1"/>
              <a:t>điều</a:t>
            </a:r>
            <a:r>
              <a:rPr lang="vi-VN" dirty="0"/>
              <a:t> </a:t>
            </a:r>
            <a:r>
              <a:rPr lang="vi-VN" dirty="0" err="1"/>
              <a:t>trị</a:t>
            </a:r>
            <a:r>
              <a:rPr lang="vi-VN" dirty="0"/>
              <a:t>:</a:t>
            </a:r>
          </a:p>
          <a:p>
            <a:pPr marL="0" indent="0">
              <a:buNone/>
            </a:pPr>
            <a:r>
              <a:rPr lang="vi-VN" dirty="0" err="1"/>
              <a:t>Đặt</a:t>
            </a:r>
            <a:r>
              <a:rPr lang="vi-VN" dirty="0"/>
              <a:t> </a:t>
            </a:r>
            <a:r>
              <a:rPr lang="vi-VN" dirty="0" err="1"/>
              <a:t>Stent</a:t>
            </a:r>
            <a:r>
              <a:rPr lang="vi-VN" dirty="0"/>
              <a:t> </a:t>
            </a:r>
            <a:r>
              <a:rPr lang="vi-VN" dirty="0" err="1"/>
              <a:t>hoặc</a:t>
            </a:r>
            <a:r>
              <a:rPr lang="vi-VN" dirty="0"/>
              <a:t>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mũ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giải</a:t>
            </a:r>
            <a:r>
              <a:rPr lang="vi-VN" dirty="0"/>
              <a:t> </a:t>
            </a:r>
            <a:r>
              <a:rPr lang="vi-VN" dirty="0" err="1"/>
              <a:t>áp</a:t>
            </a:r>
            <a:r>
              <a:rPr lang="vi-VN" dirty="0"/>
              <a:t>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Hạn</a:t>
            </a:r>
            <a:r>
              <a:rPr lang="vi-VN" dirty="0"/>
              <a:t> </a:t>
            </a:r>
            <a:r>
              <a:rPr lang="vi-VN" dirty="0" err="1"/>
              <a:t>chế</a:t>
            </a:r>
            <a:r>
              <a:rPr lang="vi-VN" dirty="0"/>
              <a:t>: </a:t>
            </a:r>
          </a:p>
          <a:p>
            <a:pPr marL="0" indent="0">
              <a:buNone/>
            </a:pPr>
            <a:r>
              <a:rPr lang="vi-VN" dirty="0"/>
              <a:t>Không </a:t>
            </a:r>
            <a:r>
              <a:rPr lang="vi-VN" dirty="0" err="1"/>
              <a:t>đánh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mức</a:t>
            </a:r>
            <a:r>
              <a:rPr lang="vi-VN" dirty="0"/>
              <a:t> </a:t>
            </a:r>
            <a:r>
              <a:rPr lang="vi-VN" dirty="0" err="1"/>
              <a:t>độ</a:t>
            </a:r>
            <a:r>
              <a:rPr lang="vi-VN" dirty="0"/>
              <a:t> xâm </a:t>
            </a:r>
            <a:r>
              <a:rPr lang="vi-VN" dirty="0" err="1"/>
              <a:t>lấn</a:t>
            </a:r>
            <a:r>
              <a:rPr lang="vi-VN" dirty="0"/>
              <a:t>, di căn → </a:t>
            </a:r>
            <a:r>
              <a:rPr lang="vi-VN" dirty="0" err="1"/>
              <a:t>cần</a:t>
            </a:r>
            <a:r>
              <a:rPr lang="vi-VN" dirty="0"/>
              <a:t> </a:t>
            </a:r>
            <a:r>
              <a:rPr lang="vi-VN" dirty="0" err="1"/>
              <a:t>kết</a:t>
            </a:r>
            <a:r>
              <a:rPr lang="vi-VN" dirty="0"/>
              <a:t> </a:t>
            </a:r>
            <a:r>
              <a:rPr lang="vi-VN" dirty="0" err="1"/>
              <a:t>hợp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phương </a:t>
            </a:r>
            <a:r>
              <a:rPr lang="vi-VN" dirty="0" err="1"/>
              <a:t>tiện</a:t>
            </a:r>
            <a:r>
              <a:rPr lang="vi-VN" dirty="0"/>
              <a:t> </a:t>
            </a:r>
            <a:r>
              <a:rPr lang="vi-VN" dirty="0" err="1"/>
              <a:t>chẩn</a:t>
            </a:r>
            <a:r>
              <a:rPr lang="vi-VN" dirty="0"/>
              <a:t> </a:t>
            </a:r>
            <a:r>
              <a:rPr lang="vi-VN" dirty="0" err="1"/>
              <a:t>đoán</a:t>
            </a:r>
            <a:r>
              <a:rPr lang="vi-VN" dirty="0"/>
              <a:t>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ảnh</a:t>
            </a:r>
            <a:r>
              <a:rPr lang="vi-VN" dirty="0"/>
              <a:t> </a:t>
            </a:r>
            <a:r>
              <a:rPr lang="vi-VN" dirty="0" err="1"/>
              <a:t>khác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Phương </a:t>
            </a:r>
            <a:r>
              <a:rPr lang="vi-VN" dirty="0" err="1"/>
              <a:t>tiện</a:t>
            </a:r>
            <a:r>
              <a:rPr lang="vi-VN" dirty="0"/>
              <a:t> xâm </a:t>
            </a:r>
            <a:r>
              <a:rPr lang="vi-VN" dirty="0" err="1"/>
              <a:t>lấn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3098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25DC0490-0435-9F42-3B62-AB126F4F2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6AE43F98-CDE9-44D5-D0DB-426E2CF0CC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HÌNH ẢNH HỌC</a:t>
            </a:r>
          </a:p>
          <a:p>
            <a:pPr marL="0" indent="0">
              <a:buNone/>
            </a:pPr>
            <a:r>
              <a:rPr lang="en-US" dirty="0"/>
              <a:t>PET/CT</a:t>
            </a:r>
          </a:p>
          <a:p>
            <a:pPr marL="0" indent="0">
              <a:buNone/>
            </a:pPr>
            <a:r>
              <a:rPr lang="vi-VN" dirty="0" err="1"/>
              <a:t>Đánh</a:t>
            </a:r>
            <a:r>
              <a:rPr lang="vi-VN" dirty="0"/>
              <a:t> </a:t>
            </a:r>
            <a:r>
              <a:rPr lang="vi-VN" dirty="0" err="1"/>
              <a:t>giá</a:t>
            </a:r>
            <a:r>
              <a:rPr lang="vi-VN" dirty="0"/>
              <a:t> giai </a:t>
            </a:r>
            <a:r>
              <a:rPr lang="vi-VN" dirty="0" err="1"/>
              <a:t>đoạn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Phát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di căn xa </a:t>
            </a:r>
            <a:r>
              <a:rPr lang="vi-VN" dirty="0" err="1"/>
              <a:t>tốt</a:t>
            </a:r>
            <a:r>
              <a:rPr lang="vi-VN" dirty="0"/>
              <a:t> hơn CT, MRI, EUS</a:t>
            </a:r>
          </a:p>
          <a:p>
            <a:pPr marL="0" indent="0">
              <a:buNone/>
            </a:pPr>
            <a:r>
              <a:rPr lang="en-US" dirty="0"/>
              <a:t>PTC </a:t>
            </a:r>
            <a:r>
              <a:rPr lang="vi-VN" dirty="0" err="1"/>
              <a:t>Gần</a:t>
            </a:r>
            <a:r>
              <a:rPr lang="vi-VN" dirty="0"/>
              <a:t> như không </a:t>
            </a:r>
            <a:r>
              <a:rPr lang="vi-VN" dirty="0" err="1"/>
              <a:t>còn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8939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73E4DDDB-0447-459B-450D-CFF3B7B5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B21DCB89-E44E-5B35-2507-D19F15D61C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SINH THIẾT U</a:t>
            </a:r>
          </a:p>
          <a:p>
            <a:pPr marL="0" indent="0">
              <a:buNone/>
            </a:pPr>
            <a:r>
              <a:rPr lang="en-US" dirty="0"/>
              <a:t>a. EUS – FNA</a:t>
            </a:r>
          </a:p>
          <a:p>
            <a:pPr marL="0" indent="0">
              <a:buNone/>
            </a:pPr>
            <a:r>
              <a:rPr lang="en-US" dirty="0"/>
              <a:t>b. ERCP</a:t>
            </a:r>
          </a:p>
          <a:p>
            <a:pPr marL="0" indent="0">
              <a:buNone/>
            </a:pPr>
            <a:r>
              <a:rPr lang="en-US" dirty="0"/>
              <a:t>c. </a:t>
            </a:r>
            <a:r>
              <a:rPr lang="en-US" dirty="0" err="1"/>
              <a:t>Nội</a:t>
            </a:r>
            <a:r>
              <a:rPr lang="en-US" dirty="0"/>
              <a:t> soi </a:t>
            </a:r>
            <a:r>
              <a:rPr lang="en-US" dirty="0" err="1"/>
              <a:t>tá</a:t>
            </a:r>
            <a:r>
              <a:rPr lang="en-US" dirty="0"/>
              <a:t> </a:t>
            </a:r>
            <a:r>
              <a:rPr lang="en-US" dirty="0" err="1"/>
              <a:t>tràng</a:t>
            </a:r>
            <a:r>
              <a:rPr lang="en-US" dirty="0"/>
              <a:t> D2</a:t>
            </a:r>
          </a:p>
          <a:p>
            <a:pPr marL="0" indent="0">
              <a:buNone/>
            </a:pPr>
            <a:r>
              <a:rPr lang="en-US" dirty="0"/>
              <a:t>d. </a:t>
            </a:r>
            <a:r>
              <a:rPr lang="en-US" dirty="0" err="1"/>
              <a:t>Nội</a:t>
            </a:r>
            <a:r>
              <a:rPr lang="en-US" dirty="0"/>
              <a:t> soi ổ </a:t>
            </a:r>
            <a:r>
              <a:rPr lang="en-US" dirty="0" err="1"/>
              <a:t>bụng</a:t>
            </a:r>
            <a:r>
              <a:rPr lang="en-US" dirty="0"/>
              <a:t> </a:t>
            </a:r>
            <a:r>
              <a:rPr lang="en-US" dirty="0" err="1"/>
              <a:t>thám</a:t>
            </a:r>
            <a:r>
              <a:rPr lang="en-US" dirty="0"/>
              <a:t> </a:t>
            </a:r>
            <a:r>
              <a:rPr lang="en-US" dirty="0" err="1"/>
              <a:t>sát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e. Sinh </a:t>
            </a:r>
            <a:r>
              <a:rPr lang="en-US" dirty="0" err="1"/>
              <a:t>thiết</a:t>
            </a:r>
            <a:r>
              <a:rPr lang="en-US" dirty="0"/>
              <a:t> qua d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9977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6C48747-83CE-5A9E-B4AA-A010C5F29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857DA748-3468-94CD-7169-F6B57EE7E5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SINH THIẾT U</a:t>
            </a:r>
          </a:p>
          <a:p>
            <a:pPr marL="0" indent="0">
              <a:buNone/>
            </a:pPr>
            <a:r>
              <a:rPr lang="en-US" dirty="0"/>
              <a:t>a. EUS – FNA</a:t>
            </a:r>
          </a:p>
          <a:p>
            <a:pPr marL="0" indent="0">
              <a:buNone/>
            </a:pPr>
            <a:r>
              <a:rPr lang="vi-VN" dirty="0"/>
              <a:t>FNA: </a:t>
            </a:r>
            <a:r>
              <a:rPr lang="vi-VN" dirty="0" err="1"/>
              <a:t>chỉ</a:t>
            </a:r>
            <a:r>
              <a:rPr lang="vi-VN" dirty="0"/>
              <a:t> </a:t>
            </a:r>
            <a:r>
              <a:rPr lang="vi-VN" dirty="0" err="1"/>
              <a:t>làm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tế</a:t>
            </a:r>
            <a:r>
              <a:rPr lang="vi-VN" dirty="0"/>
              <a:t> </a:t>
            </a:r>
            <a:r>
              <a:rPr lang="vi-VN" dirty="0" err="1"/>
              <a:t>bào</a:t>
            </a:r>
            <a:r>
              <a:rPr lang="vi-VN" dirty="0"/>
              <a:t> </a:t>
            </a:r>
            <a:r>
              <a:rPr lang="vi-VN" dirty="0" err="1"/>
              <a:t>học</a:t>
            </a:r>
            <a:r>
              <a:rPr lang="vi-VN" dirty="0"/>
              <a:t>.</a:t>
            </a:r>
          </a:p>
          <a:p>
            <a:pPr marL="0" indent="0">
              <a:buNone/>
            </a:pPr>
            <a:r>
              <a:rPr lang="vi-VN" dirty="0" err="1"/>
              <a:t>Ít</a:t>
            </a:r>
            <a:r>
              <a:rPr lang="vi-VN" dirty="0"/>
              <a:t> xâm </a:t>
            </a:r>
            <a:r>
              <a:rPr lang="vi-VN" dirty="0" err="1"/>
              <a:t>lấn</a:t>
            </a:r>
            <a:r>
              <a:rPr lang="vi-VN" dirty="0"/>
              <a:t> hơn ERCP</a:t>
            </a:r>
          </a:p>
          <a:p>
            <a:pPr marL="0" indent="0">
              <a:buNone/>
            </a:pPr>
            <a:r>
              <a:rPr lang="vi-VN" dirty="0"/>
              <a:t>Vai </a:t>
            </a:r>
            <a:r>
              <a:rPr lang="vi-VN" dirty="0" err="1"/>
              <a:t>trò</a:t>
            </a:r>
            <a:r>
              <a:rPr lang="vi-VN" dirty="0"/>
              <a:t> trong </a:t>
            </a:r>
            <a:r>
              <a:rPr lang="vi-VN" dirty="0" err="1"/>
              <a:t>những</a:t>
            </a:r>
            <a:r>
              <a:rPr lang="vi-VN" dirty="0"/>
              <a:t> </a:t>
            </a:r>
            <a:r>
              <a:rPr lang="vi-VN" dirty="0" err="1"/>
              <a:t>trường</a:t>
            </a:r>
            <a:r>
              <a:rPr lang="vi-VN" dirty="0"/>
              <a:t> </a:t>
            </a:r>
            <a:r>
              <a:rPr lang="vi-VN" dirty="0" err="1"/>
              <a:t>hợp</a:t>
            </a:r>
            <a:r>
              <a:rPr lang="vi-VN" dirty="0"/>
              <a:t> u </a:t>
            </a:r>
            <a:r>
              <a:rPr lang="vi-VN" dirty="0" err="1"/>
              <a:t>tụy</a:t>
            </a:r>
            <a:r>
              <a:rPr lang="vi-VN" dirty="0"/>
              <a:t> </a:t>
            </a:r>
            <a:r>
              <a:rPr lang="vi-VN" dirty="0" err="1"/>
              <a:t>mà</a:t>
            </a:r>
            <a:r>
              <a:rPr lang="vi-VN" dirty="0"/>
              <a:t> không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, </a:t>
            </a:r>
            <a:r>
              <a:rPr lang="vi-VN" dirty="0" err="1"/>
              <a:t>cần</a:t>
            </a:r>
            <a:r>
              <a:rPr lang="vi-VN" dirty="0"/>
              <a:t> </a:t>
            </a:r>
            <a:r>
              <a:rPr lang="vi-VN" dirty="0" err="1"/>
              <a:t>phải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bằng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 GPB </a:t>
            </a:r>
            <a:r>
              <a:rPr lang="vi-VN" dirty="0" err="1"/>
              <a:t>trước</a:t>
            </a:r>
            <a:r>
              <a:rPr lang="vi-VN" dirty="0"/>
              <a:t> </a:t>
            </a:r>
            <a:r>
              <a:rPr lang="vi-VN" dirty="0" err="1"/>
              <a:t>mổ</a:t>
            </a:r>
            <a:r>
              <a:rPr lang="vi-VN" dirty="0"/>
              <a:t>.</a:t>
            </a:r>
          </a:p>
          <a:p>
            <a:pPr marL="0" indent="0">
              <a:buNone/>
            </a:pPr>
            <a:r>
              <a:rPr lang="vi-VN" dirty="0"/>
              <a:t>Se: 80-95% (U </a:t>
            </a:r>
            <a:r>
              <a:rPr lang="vi-VN" dirty="0" err="1"/>
              <a:t>tuỵ</a:t>
            </a:r>
            <a:r>
              <a:rPr lang="vi-VN" dirty="0"/>
              <a:t>) </a:t>
            </a:r>
            <a:r>
              <a:rPr lang="en-US" dirty="0"/>
              <a:t>=&gt; </a:t>
            </a:r>
            <a:r>
              <a:rPr lang="vi-VN" dirty="0"/>
              <a:t>98.3% (u </a:t>
            </a:r>
            <a:r>
              <a:rPr lang="vi-VN" dirty="0" err="1"/>
              <a:t>tuỵ</a:t>
            </a:r>
            <a:r>
              <a:rPr lang="vi-VN" dirty="0"/>
              <a:t> không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) </a:t>
            </a:r>
            <a:r>
              <a:rPr lang="en-US" dirty="0"/>
              <a:t>=&gt; </a:t>
            </a:r>
            <a:r>
              <a:rPr lang="vi-VN" dirty="0"/>
              <a:t>92.5% (TH </a:t>
            </a:r>
            <a:r>
              <a:rPr lang="vi-VN" dirty="0" err="1"/>
              <a:t>kèm</a:t>
            </a:r>
            <a:r>
              <a:rPr lang="vi-VN" dirty="0"/>
              <a:t> viêm </a:t>
            </a:r>
            <a:r>
              <a:rPr lang="vi-VN" dirty="0" err="1"/>
              <a:t>tuỵ</a:t>
            </a:r>
            <a:r>
              <a:rPr lang="vi-VN" dirty="0"/>
              <a:t> </a:t>
            </a:r>
            <a:r>
              <a:rPr lang="vi-VN" dirty="0" err="1"/>
              <a:t>mạn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DBB52E50-0A25-AFF0-D8FD-6DAC168DB8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7199" y="733786"/>
            <a:ext cx="4480948" cy="462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9279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942E7CDA-82B5-FA54-2177-2E3D7F095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CDFCE0D-B65C-1505-48EF-DCB29F87AE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2.CẬN LÂM SÀNG : SINH THIẾT U</a:t>
            </a:r>
          </a:p>
          <a:p>
            <a:pPr marL="0" indent="0">
              <a:buNone/>
            </a:pPr>
            <a:r>
              <a:rPr lang="en-US" dirty="0" err="1"/>
              <a:t>b.ERCP</a:t>
            </a:r>
            <a:endParaRPr lang="en-US" dirty="0"/>
          </a:p>
          <a:p>
            <a:pPr marL="0" indent="0">
              <a:buNone/>
            </a:pPr>
            <a:r>
              <a:rPr lang="vi-VN" dirty="0"/>
              <a:t>Ưu </a:t>
            </a:r>
            <a:r>
              <a:rPr lang="vi-VN" dirty="0" err="1"/>
              <a:t>điểm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Sinh </a:t>
            </a:r>
            <a:r>
              <a:rPr lang="vi-VN" dirty="0" err="1"/>
              <a:t>thiết</a:t>
            </a:r>
            <a:r>
              <a:rPr lang="vi-VN" dirty="0"/>
              <a:t> </a:t>
            </a:r>
            <a:r>
              <a:rPr lang="vi-VN" dirty="0" err="1"/>
              <a:t>làm</a:t>
            </a:r>
            <a:r>
              <a:rPr lang="vi-VN" dirty="0"/>
              <a:t> GPB</a:t>
            </a:r>
          </a:p>
          <a:p>
            <a:pPr marL="0" indent="0">
              <a:buNone/>
            </a:pPr>
            <a:r>
              <a:rPr lang="vi-VN" dirty="0"/>
              <a:t>Xâm </a:t>
            </a:r>
            <a:r>
              <a:rPr lang="vi-VN" dirty="0" err="1"/>
              <a:t>lấn</a:t>
            </a:r>
            <a:r>
              <a:rPr lang="vi-VN" dirty="0"/>
              <a:t> hơn EUS – FNA</a:t>
            </a:r>
          </a:p>
          <a:p>
            <a:pPr marL="0" indent="0">
              <a:buNone/>
            </a:pPr>
            <a:r>
              <a:rPr lang="vi-VN" dirty="0"/>
              <a:t>Ưu tiên </a:t>
            </a:r>
            <a:r>
              <a:rPr lang="vi-VN" dirty="0" err="1"/>
              <a:t>sử</a:t>
            </a:r>
            <a:r>
              <a:rPr lang="vi-VN" dirty="0"/>
              <a:t> </a:t>
            </a:r>
            <a:r>
              <a:rPr lang="vi-VN" dirty="0" err="1"/>
              <a:t>dụng</a:t>
            </a:r>
            <a:r>
              <a:rPr lang="vi-VN" dirty="0"/>
              <a:t> khi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kèm</a:t>
            </a:r>
            <a:r>
              <a:rPr lang="vi-VN" dirty="0"/>
              <a:t> theo</a:t>
            </a:r>
          </a:p>
          <a:p>
            <a:pPr marL="0" indent="0">
              <a:buNone/>
            </a:pPr>
            <a:r>
              <a:rPr lang="vi-VN" dirty="0" err="1"/>
              <a:t>Chống</a:t>
            </a:r>
            <a:r>
              <a:rPr lang="vi-VN" dirty="0"/>
              <a:t> </a:t>
            </a:r>
            <a:r>
              <a:rPr lang="vi-VN" dirty="0" err="1"/>
              <a:t>chỉ</a:t>
            </a:r>
            <a:r>
              <a:rPr lang="vi-VN" dirty="0"/>
              <a:t> </a:t>
            </a:r>
            <a:r>
              <a:rPr lang="vi-VN" dirty="0" err="1"/>
              <a:t>định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BN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cắt</a:t>
            </a:r>
            <a:r>
              <a:rPr lang="vi-VN" dirty="0"/>
              <a:t> </a:t>
            </a:r>
            <a:r>
              <a:rPr lang="vi-VN" dirty="0" err="1"/>
              <a:t>dạ</a:t>
            </a:r>
            <a:r>
              <a:rPr lang="vi-VN" dirty="0"/>
              <a:t> </a:t>
            </a:r>
            <a:r>
              <a:rPr lang="vi-VN" dirty="0" err="1"/>
              <a:t>dày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BN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thừa</a:t>
            </a:r>
            <a:r>
              <a:rPr lang="vi-VN" dirty="0"/>
              <a:t> </a:t>
            </a:r>
            <a:r>
              <a:rPr lang="vi-VN" dirty="0" err="1"/>
              <a:t>tá</a:t>
            </a:r>
            <a:r>
              <a:rPr lang="vi-VN" dirty="0"/>
              <a:t> </a:t>
            </a:r>
            <a:r>
              <a:rPr lang="vi-VN" dirty="0" err="1"/>
              <a:t>tràng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Hẹp</a:t>
            </a:r>
            <a:r>
              <a:rPr lang="vi-VN" dirty="0"/>
              <a:t> môn </a:t>
            </a:r>
            <a:r>
              <a:rPr lang="vi-VN" dirty="0" err="1"/>
              <a:t>vị</a:t>
            </a:r>
            <a:r>
              <a:rPr lang="vi-VN" dirty="0"/>
              <a:t> </a:t>
            </a:r>
            <a:r>
              <a:rPr lang="vi-VN" dirty="0" err="1"/>
              <a:t>loét</a:t>
            </a:r>
            <a:r>
              <a:rPr lang="vi-VN" dirty="0"/>
              <a:t> </a:t>
            </a:r>
            <a:r>
              <a:rPr lang="vi-VN" dirty="0" err="1"/>
              <a:t>tá</a:t>
            </a:r>
            <a:r>
              <a:rPr lang="vi-VN" dirty="0"/>
              <a:t> </a:t>
            </a:r>
            <a:r>
              <a:rPr lang="vi-VN" dirty="0" err="1"/>
              <a:t>tràng</a:t>
            </a:r>
            <a:r>
              <a:rPr lang="vi-VN" dirty="0"/>
              <a:t> xơ chai</a:t>
            </a:r>
          </a:p>
          <a:p>
            <a:pPr marL="0" indent="0">
              <a:buNone/>
            </a:pP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hoàn</a:t>
            </a:r>
            <a:r>
              <a:rPr lang="vi-VN" dirty="0"/>
              <a:t> </a:t>
            </a:r>
            <a:r>
              <a:rPr lang="vi-VN" dirty="0" err="1"/>
              <a:t>toàn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E36BD282-E636-992D-C9F0-9A4968D43C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4775" y="2042576"/>
            <a:ext cx="6011177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401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3BC06CCB-D481-CE90-E74F-A3A110020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78E8EE35-EA30-40BC-89E1-7BC8BD3BFB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SINH THIẾT U</a:t>
            </a:r>
          </a:p>
          <a:p>
            <a:pPr marL="0" indent="0">
              <a:buNone/>
            </a:pPr>
            <a:r>
              <a:rPr lang="en-US" dirty="0"/>
              <a:t>c.</a:t>
            </a:r>
            <a:r>
              <a:rPr lang="fr-FR" dirty="0"/>
              <a:t> NỘI SOI TÁ TRÀNG D2</a:t>
            </a:r>
          </a:p>
          <a:p>
            <a:pPr marL="0" indent="0">
              <a:buNone/>
            </a:pPr>
            <a:r>
              <a:rPr lang="en-US" dirty="0" err="1"/>
              <a:t>Nên</a:t>
            </a:r>
            <a:r>
              <a:rPr lang="en-US" dirty="0"/>
              <a:t> </a:t>
            </a:r>
            <a:r>
              <a:rPr lang="en-US" dirty="0" err="1"/>
              <a:t>chỉ</a:t>
            </a:r>
            <a:r>
              <a:rPr lang="en-US" dirty="0"/>
              <a:t> </a:t>
            </a:r>
            <a:r>
              <a:rPr lang="en-US" dirty="0" err="1"/>
              <a:t>định</a:t>
            </a:r>
            <a:r>
              <a:rPr lang="en-US" dirty="0"/>
              <a:t> </a:t>
            </a:r>
            <a:r>
              <a:rPr lang="en-US" dirty="0" err="1"/>
              <a:t>để</a:t>
            </a:r>
            <a:r>
              <a:rPr lang="en-US" dirty="0"/>
              <a:t>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thể</a:t>
            </a:r>
            <a:r>
              <a:rPr lang="en-US" dirty="0"/>
              <a:t> </a:t>
            </a:r>
            <a:r>
              <a:rPr lang="en-US" dirty="0" err="1"/>
              <a:t>phát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u </a:t>
            </a:r>
            <a:r>
              <a:rPr lang="en-US" dirty="0" err="1"/>
              <a:t>tá</a:t>
            </a:r>
            <a:r>
              <a:rPr lang="en-US" dirty="0"/>
              <a:t> </a:t>
            </a:r>
            <a:r>
              <a:rPr lang="en-US" dirty="0" err="1"/>
              <a:t>tràng</a:t>
            </a:r>
            <a:r>
              <a:rPr lang="en-US" dirty="0"/>
              <a:t>/u </a:t>
            </a:r>
            <a:r>
              <a:rPr lang="en-US" dirty="0" err="1"/>
              <a:t>bóng</a:t>
            </a:r>
            <a:r>
              <a:rPr lang="en-US" dirty="0"/>
              <a:t> </a:t>
            </a:r>
            <a:r>
              <a:rPr lang="en-US" dirty="0" err="1"/>
              <a:t>Vater</a:t>
            </a:r>
            <a:r>
              <a:rPr lang="en-US" dirty="0"/>
              <a:t> =&gt;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dirty="0" err="1"/>
              <a:t>thiết</a:t>
            </a:r>
            <a:r>
              <a:rPr lang="en-US" dirty="0"/>
              <a:t> </a:t>
            </a:r>
            <a:r>
              <a:rPr lang="en-US" dirty="0" err="1"/>
              <a:t>luôn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B2533518-5DFD-1F77-F5B5-7E11BBB81C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3021" y="3041986"/>
            <a:ext cx="5614903" cy="4487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07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ình chữ nhật 16">
            <a:extLst>
              <a:ext uri="{FF2B5EF4-FFF2-40B4-BE49-F238E27FC236}">
                <a16:creationId xmlns:a16="http://schemas.microsoft.com/office/drawing/2014/main" id="{8A1E9A56-73A0-FFAA-D6BF-DCBE78AEBCCD}"/>
              </a:ext>
            </a:extLst>
          </p:cNvPr>
          <p:cNvSpPr/>
          <p:nvPr/>
        </p:nvSpPr>
        <p:spPr>
          <a:xfrm>
            <a:off x="4101102" y="2502980"/>
            <a:ext cx="2336400" cy="3087746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Hình chữ nhật 17">
            <a:extLst>
              <a:ext uri="{FF2B5EF4-FFF2-40B4-BE49-F238E27FC236}">
                <a16:creationId xmlns:a16="http://schemas.microsoft.com/office/drawing/2014/main" id="{245A3A00-7FCD-D71F-FEBE-664552CE087A}"/>
              </a:ext>
            </a:extLst>
          </p:cNvPr>
          <p:cNvSpPr/>
          <p:nvPr/>
        </p:nvSpPr>
        <p:spPr>
          <a:xfrm>
            <a:off x="6681634" y="2502980"/>
            <a:ext cx="2986400" cy="3087746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Hình chữ nhật 15">
            <a:extLst>
              <a:ext uri="{FF2B5EF4-FFF2-40B4-BE49-F238E27FC236}">
                <a16:creationId xmlns:a16="http://schemas.microsoft.com/office/drawing/2014/main" id="{D4012241-6543-326F-A076-A23997B2FBE6}"/>
              </a:ext>
            </a:extLst>
          </p:cNvPr>
          <p:cNvSpPr/>
          <p:nvPr/>
        </p:nvSpPr>
        <p:spPr>
          <a:xfrm>
            <a:off x="1429256" y="2481380"/>
            <a:ext cx="2336400" cy="3087746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Google Shape;2160;p49">
            <a:extLst>
              <a:ext uri="{FF2B5EF4-FFF2-40B4-BE49-F238E27FC236}">
                <a16:creationId xmlns:a16="http://schemas.microsoft.com/office/drawing/2014/main" id="{85E83714-A81A-5730-EC8F-7A5679725199}"/>
              </a:ext>
            </a:extLst>
          </p:cNvPr>
          <p:cNvSpPr txBox="1">
            <a:spLocks/>
          </p:cNvSpPr>
          <p:nvPr/>
        </p:nvSpPr>
        <p:spPr>
          <a:xfrm>
            <a:off x="1416196" y="2873041"/>
            <a:ext cx="2336400" cy="527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Times  New Roman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ID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Tuổi</a:t>
            </a:r>
            <a:endParaRPr lang="en-ID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2161;p49">
            <a:extLst>
              <a:ext uri="{FF2B5EF4-FFF2-40B4-BE49-F238E27FC236}">
                <a16:creationId xmlns:a16="http://schemas.microsoft.com/office/drawing/2014/main" id="{682D2B58-1076-2545-B2E0-5C60CF50ED4E}"/>
              </a:ext>
            </a:extLst>
          </p:cNvPr>
          <p:cNvSpPr txBox="1">
            <a:spLocks/>
          </p:cNvSpPr>
          <p:nvPr/>
        </p:nvSpPr>
        <p:spPr>
          <a:xfrm>
            <a:off x="1416196" y="3656110"/>
            <a:ext cx="2336400" cy="840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>
              <a:buNone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ăng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he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uổi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đ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hầ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ở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độ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uổi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≥ 60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uổi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)</a:t>
            </a:r>
          </a:p>
        </p:txBody>
      </p:sp>
      <p:sp>
        <p:nvSpPr>
          <p:cNvPr id="5" name="Google Shape;2162;p49">
            <a:extLst>
              <a:ext uri="{FF2B5EF4-FFF2-40B4-BE49-F238E27FC236}">
                <a16:creationId xmlns:a16="http://schemas.microsoft.com/office/drawing/2014/main" id="{F618C304-A284-19B1-DB9E-1CBB85D9C352}"/>
              </a:ext>
            </a:extLst>
          </p:cNvPr>
          <p:cNvSpPr txBox="1">
            <a:spLocks/>
          </p:cNvSpPr>
          <p:nvPr/>
        </p:nvSpPr>
        <p:spPr>
          <a:xfrm>
            <a:off x="4101102" y="2818250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Times  New Roman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ID" sz="3200" b="1" err="1">
                <a:latin typeface="Arial" panose="020B0604020202020204" pitchFamily="34" charset="0"/>
                <a:cs typeface="Arial" panose="020B0604020202020204" pitchFamily="34" charset="0"/>
              </a:rPr>
              <a:t>Giới</a:t>
            </a:r>
            <a:r>
              <a:rPr lang="en-ID" sz="32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3200" b="1" err="1">
                <a:latin typeface="Arial" panose="020B0604020202020204" pitchFamily="34" charset="0"/>
                <a:cs typeface="Arial" panose="020B0604020202020204" pitchFamily="34" charset="0"/>
              </a:rPr>
              <a:t>tính</a:t>
            </a:r>
            <a:endParaRPr lang="en-ID" sz="3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Google Shape;2163;p49">
            <a:extLst>
              <a:ext uri="{FF2B5EF4-FFF2-40B4-BE49-F238E27FC236}">
                <a16:creationId xmlns:a16="http://schemas.microsoft.com/office/drawing/2014/main" id="{95696897-C516-271F-74C8-D3DBDC81F86C}"/>
              </a:ext>
            </a:extLst>
          </p:cNvPr>
          <p:cNvSpPr txBox="1">
            <a:spLocks/>
          </p:cNvSpPr>
          <p:nvPr/>
        </p:nvSpPr>
        <p:spPr>
          <a:xfrm>
            <a:off x="4342167" y="3653467"/>
            <a:ext cx="2336400" cy="840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>
              <a:buNone/>
            </a:pP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hườ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ở na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nhiều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hơn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nữ</a:t>
            </a:r>
            <a:endParaRPr lang="vi-V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Google Shape;2164;p49">
            <a:extLst>
              <a:ext uri="{FF2B5EF4-FFF2-40B4-BE49-F238E27FC236}">
                <a16:creationId xmlns:a16="http://schemas.microsoft.com/office/drawing/2014/main" id="{83906388-974C-4372-4399-9193DA70B6A1}"/>
              </a:ext>
            </a:extLst>
          </p:cNvPr>
          <p:cNvSpPr txBox="1">
            <a:spLocks/>
          </p:cNvSpPr>
          <p:nvPr/>
        </p:nvSpPr>
        <p:spPr>
          <a:xfrm>
            <a:off x="7006634" y="2801422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Times  New Roman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ID" sz="3200" b="1" err="1">
                <a:latin typeface="Arial" panose="020B0604020202020204" pitchFamily="34" charset="0"/>
                <a:cs typeface="Arial" panose="020B0604020202020204" pitchFamily="34" charset="0"/>
              </a:rPr>
              <a:t>Tần</a:t>
            </a:r>
            <a:r>
              <a:rPr lang="en-ID" sz="32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3200" b="1" err="1">
                <a:latin typeface="Arial" panose="020B0604020202020204" pitchFamily="34" charset="0"/>
                <a:cs typeface="Arial" panose="020B0604020202020204" pitchFamily="34" charset="0"/>
              </a:rPr>
              <a:t>suất</a:t>
            </a:r>
            <a:endParaRPr lang="en-ID" sz="3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Google Shape;2165;p49">
            <a:extLst>
              <a:ext uri="{FF2B5EF4-FFF2-40B4-BE49-F238E27FC236}">
                <a16:creationId xmlns:a16="http://schemas.microsoft.com/office/drawing/2014/main" id="{95FADF8D-1304-76B7-7632-35D7D79A9E2A}"/>
              </a:ext>
            </a:extLst>
          </p:cNvPr>
          <p:cNvSpPr/>
          <p:nvPr/>
        </p:nvSpPr>
        <p:spPr>
          <a:xfrm>
            <a:off x="2193196" y="1944379"/>
            <a:ext cx="782400" cy="782400"/>
          </a:xfrm>
          <a:prstGeom prst="ellipse">
            <a:avLst/>
          </a:prstGeom>
          <a:solidFill>
            <a:schemeClr val="bg1"/>
          </a:solidFill>
          <a:ln w="63500" cap="flat" cmpd="sng">
            <a:solidFill>
              <a:srgbClr val="56ABC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oogle Shape;2166;p49">
            <a:extLst>
              <a:ext uri="{FF2B5EF4-FFF2-40B4-BE49-F238E27FC236}">
                <a16:creationId xmlns:a16="http://schemas.microsoft.com/office/drawing/2014/main" id="{7F4FD32E-BDCE-4C95-F453-6BA21DC11A05}"/>
              </a:ext>
            </a:extLst>
          </p:cNvPr>
          <p:cNvSpPr txBox="1">
            <a:spLocks/>
          </p:cNvSpPr>
          <p:nvPr/>
        </p:nvSpPr>
        <p:spPr>
          <a:xfrm>
            <a:off x="6681634" y="3685397"/>
            <a:ext cx="2986400" cy="16220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Times   New Roman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. Ung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ư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ầu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ụ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. Ung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ư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ó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at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. Ung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ư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oạ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uố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  	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ố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ậ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ủ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U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thư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á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àng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Google Shape;2167;p49">
            <a:extLst>
              <a:ext uri="{FF2B5EF4-FFF2-40B4-BE49-F238E27FC236}">
                <a16:creationId xmlns:a16="http://schemas.microsoft.com/office/drawing/2014/main" id="{F9D33E7A-1E17-BAEB-EBEB-FCD2ECEC4B46}"/>
              </a:ext>
            </a:extLst>
          </p:cNvPr>
          <p:cNvSpPr/>
          <p:nvPr/>
        </p:nvSpPr>
        <p:spPr>
          <a:xfrm>
            <a:off x="8164034" y="2481380"/>
            <a:ext cx="21600" cy="216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oogle Shape;2168;p49">
            <a:extLst>
              <a:ext uri="{FF2B5EF4-FFF2-40B4-BE49-F238E27FC236}">
                <a16:creationId xmlns:a16="http://schemas.microsoft.com/office/drawing/2014/main" id="{50AE829F-9106-23C5-03E6-AE55B445BDDB}"/>
              </a:ext>
            </a:extLst>
          </p:cNvPr>
          <p:cNvSpPr/>
          <p:nvPr/>
        </p:nvSpPr>
        <p:spPr>
          <a:xfrm>
            <a:off x="4878102" y="1924108"/>
            <a:ext cx="782400" cy="782400"/>
          </a:xfrm>
          <a:prstGeom prst="ellipse">
            <a:avLst/>
          </a:prstGeom>
          <a:solidFill>
            <a:schemeClr val="bg1"/>
          </a:solidFill>
          <a:ln w="63500" cap="flat" cmpd="sng">
            <a:solidFill>
              <a:srgbClr val="56ABC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169;p49">
            <a:extLst>
              <a:ext uri="{FF2B5EF4-FFF2-40B4-BE49-F238E27FC236}">
                <a16:creationId xmlns:a16="http://schemas.microsoft.com/office/drawing/2014/main" id="{6116EEFA-E256-5028-9392-C9BB33E876D7}"/>
              </a:ext>
            </a:extLst>
          </p:cNvPr>
          <p:cNvSpPr/>
          <p:nvPr/>
        </p:nvSpPr>
        <p:spPr>
          <a:xfrm>
            <a:off x="7783634" y="1908369"/>
            <a:ext cx="782400" cy="782400"/>
          </a:xfrm>
          <a:prstGeom prst="ellipse">
            <a:avLst/>
          </a:prstGeom>
          <a:solidFill>
            <a:schemeClr val="bg1"/>
          </a:solidFill>
          <a:ln w="63500" cap="flat" cmpd="sng">
            <a:solidFill>
              <a:srgbClr val="56ABC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40" descr="Icon&#10;&#10;Description automatically generated">
            <a:extLst>
              <a:ext uri="{FF2B5EF4-FFF2-40B4-BE49-F238E27FC236}">
                <a16:creationId xmlns:a16="http://schemas.microsoft.com/office/drawing/2014/main" id="{A845544D-8488-1E81-41C2-99F7132DA0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9889" y="1961180"/>
            <a:ext cx="669890" cy="643666"/>
          </a:xfrm>
          <a:prstGeom prst="ellipse">
            <a:avLst/>
          </a:prstGeom>
        </p:spPr>
      </p:pic>
      <p:pic>
        <p:nvPicPr>
          <p:cNvPr id="14" name="Picture 41" descr="Icon&#10;&#10;Description automatically generated">
            <a:extLst>
              <a:ext uri="{FF2B5EF4-FFF2-40B4-BE49-F238E27FC236}">
                <a16:creationId xmlns:a16="http://schemas.microsoft.com/office/drawing/2014/main" id="{07574D66-6ABA-4D43-2369-7DE0D39824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3089" y="2025770"/>
            <a:ext cx="612426" cy="579076"/>
          </a:xfrm>
          <a:prstGeom prst="ellipse">
            <a:avLst/>
          </a:prstGeom>
        </p:spPr>
      </p:pic>
      <p:pic>
        <p:nvPicPr>
          <p:cNvPr id="15" name="Picture 43">
            <a:extLst>
              <a:ext uri="{FF2B5EF4-FFF2-40B4-BE49-F238E27FC236}">
                <a16:creationId xmlns:a16="http://schemas.microsoft.com/office/drawing/2014/main" id="{16B0D382-9094-B133-D093-9D1BB720D4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2657" y="2055623"/>
            <a:ext cx="523479" cy="527700"/>
          </a:xfrm>
          <a:prstGeom prst="rect">
            <a:avLst/>
          </a:prstGeom>
        </p:spPr>
      </p:pic>
      <p:sp>
        <p:nvSpPr>
          <p:cNvPr id="2" name="Tiêu đề 1">
            <a:extLst>
              <a:ext uri="{FF2B5EF4-FFF2-40B4-BE49-F238E27FC236}">
                <a16:creationId xmlns:a16="http://schemas.microsoft.com/office/drawing/2014/main" id="{B072AAA5-9356-4E41-8AFE-40F0A88C0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TỔNG QUAN</a:t>
            </a:r>
          </a:p>
        </p:txBody>
      </p:sp>
      <p:sp>
        <p:nvSpPr>
          <p:cNvPr id="22" name="Chỗ dành sẵn cho Nội dung 21">
            <a:extLst>
              <a:ext uri="{FF2B5EF4-FFF2-40B4-BE49-F238E27FC236}">
                <a16:creationId xmlns:a16="http://schemas.microsoft.com/office/drawing/2014/main" id="{29118DC6-400C-FC54-CA30-7AA20F721B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719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0908797F-0836-B8DC-3A06-4B80A0E22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A23ED64A-0418-61EC-2288-BF9CBB1918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SINH THIẾT U</a:t>
            </a:r>
          </a:p>
          <a:p>
            <a:pPr marL="0" indent="0">
              <a:buNone/>
            </a:pPr>
            <a:r>
              <a:rPr lang="en-US" dirty="0"/>
              <a:t>d. NỘI SOI Ổ BỤNG THÁM SÁT - Diagnostic staging laparoscopy (DSL) </a:t>
            </a:r>
          </a:p>
          <a:p>
            <a:pPr marL="0" indent="0">
              <a:buNone/>
            </a:pPr>
            <a:r>
              <a:rPr lang="vi-VN" dirty="0" err="1"/>
              <a:t>Thực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DSL cho BN u quanh </a:t>
            </a:r>
            <a:r>
              <a:rPr lang="vi-VN" dirty="0" err="1"/>
              <a:t>bóng</a:t>
            </a:r>
            <a:r>
              <a:rPr lang="vi-VN" dirty="0"/>
              <a:t> </a:t>
            </a:r>
            <a:r>
              <a:rPr lang="vi-VN" dirty="0" err="1"/>
              <a:t>Vater</a:t>
            </a:r>
            <a:r>
              <a:rPr lang="vi-VN" dirty="0"/>
              <a:t> mang </a:t>
            </a:r>
            <a:r>
              <a:rPr lang="vi-VN" dirty="0" err="1"/>
              <a:t>lại</a:t>
            </a:r>
            <a:r>
              <a:rPr lang="vi-VN" dirty="0"/>
              <a:t> </a:t>
            </a:r>
            <a:r>
              <a:rPr lang="vi-VN" dirty="0" err="1"/>
              <a:t>rất</a:t>
            </a:r>
            <a:r>
              <a:rPr lang="vi-VN" dirty="0"/>
              <a:t> </a:t>
            </a:r>
            <a:r>
              <a:rPr lang="vi-VN" dirty="0" err="1"/>
              <a:t>ít</a:t>
            </a:r>
            <a:r>
              <a:rPr lang="vi-VN" dirty="0"/>
              <a:t> </a:t>
            </a:r>
            <a:r>
              <a:rPr lang="vi-VN" dirty="0" err="1"/>
              <a:t>lợi</a:t>
            </a:r>
            <a:r>
              <a:rPr lang="vi-VN" dirty="0"/>
              <a:t> </a:t>
            </a:r>
            <a:r>
              <a:rPr lang="vi-VN" dirty="0" err="1"/>
              <a:t>ích</a:t>
            </a:r>
            <a:r>
              <a:rPr lang="vi-VN" dirty="0"/>
              <a:t> (</a:t>
            </a:r>
            <a:r>
              <a:rPr lang="vi-VN" dirty="0" err="1"/>
              <a:t>chỉ</a:t>
            </a:r>
            <a:r>
              <a:rPr lang="vi-VN" dirty="0"/>
              <a:t> </a:t>
            </a:r>
            <a:r>
              <a:rPr lang="vi-VN" dirty="0" err="1"/>
              <a:t>tránh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#2.3% PT </a:t>
            </a:r>
            <a:r>
              <a:rPr lang="vi-VN" dirty="0" err="1"/>
              <a:t>mở</a:t>
            </a:r>
            <a:r>
              <a:rPr lang="vi-VN" dirty="0"/>
              <a:t> </a:t>
            </a:r>
            <a:r>
              <a:rPr lang="vi-VN" dirty="0" err="1"/>
              <a:t>bụng</a:t>
            </a:r>
            <a:r>
              <a:rPr lang="vi-VN" dirty="0"/>
              <a:t> không </a:t>
            </a:r>
            <a:r>
              <a:rPr lang="vi-VN" dirty="0" err="1"/>
              <a:t>cần</a:t>
            </a:r>
            <a:r>
              <a:rPr lang="vi-VN" dirty="0"/>
              <a:t> </a:t>
            </a:r>
            <a:r>
              <a:rPr lang="vi-VN" dirty="0" err="1"/>
              <a:t>thiết</a:t>
            </a:r>
            <a:r>
              <a:rPr lang="vi-VN" dirty="0"/>
              <a:t>).</a:t>
            </a:r>
          </a:p>
          <a:p>
            <a:pPr marL="0" indent="0">
              <a:buNone/>
            </a:pPr>
            <a:r>
              <a:rPr lang="vi-VN" dirty="0" err="1"/>
              <a:t>Thực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DSL </a:t>
            </a:r>
            <a:r>
              <a:rPr lang="vi-VN" dirty="0" err="1"/>
              <a:t>được</a:t>
            </a:r>
            <a:r>
              <a:rPr lang="vi-VN" dirty="0"/>
              <a:t> cân </a:t>
            </a:r>
            <a:r>
              <a:rPr lang="vi-VN" dirty="0" err="1"/>
              <a:t>nhắc</a:t>
            </a:r>
            <a:r>
              <a:rPr lang="vi-VN" dirty="0"/>
              <a:t> khi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thực</a:t>
            </a:r>
            <a:r>
              <a:rPr lang="vi-VN" dirty="0"/>
              <a:t> </a:t>
            </a:r>
            <a:r>
              <a:rPr lang="vi-VN" dirty="0" err="1"/>
              <a:t>hiện</a:t>
            </a:r>
            <a:r>
              <a:rPr lang="vi-VN" dirty="0"/>
              <a:t> EUS-FNA </a:t>
            </a:r>
            <a:r>
              <a:rPr lang="vi-VN" dirty="0" err="1"/>
              <a:t>mà</a:t>
            </a:r>
            <a:r>
              <a:rPr lang="vi-VN" dirty="0"/>
              <a:t> </a:t>
            </a:r>
            <a:r>
              <a:rPr lang="vi-VN" dirty="0" err="1"/>
              <a:t>kết</a:t>
            </a:r>
            <a:r>
              <a:rPr lang="vi-VN" dirty="0"/>
              <a:t> </a:t>
            </a:r>
            <a:r>
              <a:rPr lang="vi-VN" dirty="0" err="1"/>
              <a:t>quả</a:t>
            </a:r>
            <a:r>
              <a:rPr lang="vi-VN" dirty="0"/>
              <a:t> không </a:t>
            </a:r>
            <a:r>
              <a:rPr lang="vi-VN" dirty="0" err="1"/>
              <a:t>rõ</a:t>
            </a:r>
            <a:r>
              <a:rPr lang="vi-VN" dirty="0"/>
              <a:t> </a:t>
            </a:r>
            <a:r>
              <a:rPr lang="vi-VN" dirty="0" err="1"/>
              <a:t>ràng</a:t>
            </a:r>
            <a:r>
              <a:rPr lang="vi-VN" dirty="0"/>
              <a:t>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19F8D491-EC59-1BF8-D628-BB557C6B2C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5296" y="4001294"/>
            <a:ext cx="4858933" cy="363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1789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5A280AB3-4EFF-7EEA-9293-B5AE53384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2246CA2-B607-4ED0-8E63-4469DA67F1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SINH THIẾT U</a:t>
            </a:r>
          </a:p>
          <a:p>
            <a:pPr marL="0" indent="0">
              <a:buNone/>
            </a:pPr>
            <a:r>
              <a:rPr lang="en-US" dirty="0"/>
              <a:t>e. SINH THIẾT QUA DA</a:t>
            </a:r>
          </a:p>
          <a:p>
            <a:pPr marL="0" indent="0">
              <a:buNone/>
            </a:pPr>
            <a:r>
              <a:rPr lang="vi-VN" dirty="0"/>
              <a:t>Không </a:t>
            </a:r>
            <a:r>
              <a:rPr lang="vi-VN" dirty="0" err="1"/>
              <a:t>khả</a:t>
            </a:r>
            <a:r>
              <a:rPr lang="vi-VN" dirty="0"/>
              <a:t> thi </a:t>
            </a:r>
            <a:r>
              <a:rPr lang="vi-VN" dirty="0" err="1"/>
              <a:t>trường</a:t>
            </a:r>
            <a:r>
              <a:rPr lang="vi-VN" dirty="0"/>
              <a:t> </a:t>
            </a:r>
            <a:r>
              <a:rPr lang="vi-VN" dirty="0" err="1"/>
              <a:t>hợp</a:t>
            </a:r>
            <a:r>
              <a:rPr lang="vi-VN" dirty="0"/>
              <a:t> u </a:t>
            </a:r>
            <a:r>
              <a:rPr lang="vi-VN" dirty="0" err="1"/>
              <a:t>nằm</a:t>
            </a:r>
            <a:r>
              <a:rPr lang="vi-VN" dirty="0"/>
              <a:t> sâu</a:t>
            </a:r>
          </a:p>
          <a:p>
            <a:pPr marL="0" indent="0">
              <a:buNone/>
            </a:pP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khả</a:t>
            </a:r>
            <a:r>
              <a:rPr lang="vi-VN" dirty="0"/>
              <a:t> năng gieo </a:t>
            </a:r>
            <a:r>
              <a:rPr lang="vi-VN" dirty="0" err="1"/>
              <a:t>rắc</a:t>
            </a:r>
            <a:r>
              <a:rPr lang="vi-VN" dirty="0"/>
              <a:t> qua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chọc</a:t>
            </a:r>
            <a:r>
              <a:rPr lang="vi-VN" dirty="0"/>
              <a:t> kim</a:t>
            </a:r>
          </a:p>
          <a:p>
            <a:pPr marL="0" indent="0">
              <a:buNone/>
            </a:pPr>
            <a:r>
              <a:rPr lang="en-US" dirty="0"/>
              <a:t>=&gt; </a:t>
            </a:r>
            <a:r>
              <a:rPr lang="vi-VN" dirty="0"/>
              <a:t>Không </a:t>
            </a:r>
            <a:r>
              <a:rPr lang="vi-VN" dirty="0" err="1"/>
              <a:t>dùng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2093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6F21855-E494-7CF1-030A-BCE3E682B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9D9C696-FE0B-6FA3-8D1D-386572125A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2.CẬN LÂM SÀNG :  GPB</a:t>
            </a:r>
          </a:p>
          <a:p>
            <a:pPr marL="0" indent="0">
              <a:buNone/>
            </a:pPr>
            <a:r>
              <a:rPr lang="vi-VN" dirty="0"/>
              <a:t>Ung thư </a:t>
            </a:r>
            <a:r>
              <a:rPr lang="vi-VN" dirty="0" err="1"/>
              <a:t>đầu</a:t>
            </a:r>
            <a:r>
              <a:rPr lang="vi-VN" dirty="0"/>
              <a:t> </a:t>
            </a:r>
            <a:r>
              <a:rPr lang="vi-VN" dirty="0" err="1"/>
              <a:t>tụy</a:t>
            </a:r>
            <a:r>
              <a:rPr lang="vi-VN" dirty="0"/>
              <a:t>: </a:t>
            </a:r>
          </a:p>
          <a:p>
            <a:pPr marL="0" indent="0">
              <a:buNone/>
            </a:pPr>
            <a:r>
              <a:rPr lang="en-US" dirty="0"/>
              <a:t>-</a:t>
            </a:r>
            <a:r>
              <a:rPr lang="vi-VN" dirty="0"/>
              <a:t>U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thể</a:t>
            </a:r>
            <a:r>
              <a:rPr lang="vi-VN" dirty="0"/>
              <a:t> </a:t>
            </a:r>
            <a:r>
              <a:rPr lang="vi-VN" dirty="0" err="1"/>
              <a:t>phẫu</a:t>
            </a:r>
            <a:r>
              <a:rPr lang="vi-VN" dirty="0"/>
              <a:t> </a:t>
            </a:r>
            <a:r>
              <a:rPr lang="vi-VN" dirty="0" err="1"/>
              <a:t>thuật</a:t>
            </a:r>
            <a:r>
              <a:rPr lang="vi-VN" dirty="0"/>
              <a:t>: Không </a:t>
            </a:r>
            <a:r>
              <a:rPr lang="vi-VN" dirty="0" err="1"/>
              <a:t>bắt</a:t>
            </a:r>
            <a:r>
              <a:rPr lang="vi-VN" dirty="0"/>
              <a:t> </a:t>
            </a:r>
            <a:r>
              <a:rPr lang="vi-VN" dirty="0" err="1"/>
              <a:t>buộc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GPB </a:t>
            </a:r>
            <a:r>
              <a:rPr lang="vi-VN" dirty="0" err="1"/>
              <a:t>trước</a:t>
            </a:r>
            <a:r>
              <a:rPr lang="vi-VN" dirty="0"/>
              <a:t> </a:t>
            </a:r>
            <a:r>
              <a:rPr lang="vi-VN" dirty="0" err="1"/>
              <a:t>mổ</a:t>
            </a:r>
            <a:r>
              <a:rPr lang="vi-VN" dirty="0"/>
              <a:t>.</a:t>
            </a:r>
          </a:p>
          <a:p>
            <a:pPr marL="0" indent="0">
              <a:buNone/>
            </a:pPr>
            <a:r>
              <a:rPr lang="en-US" dirty="0"/>
              <a:t>-</a:t>
            </a:r>
            <a:r>
              <a:rPr lang="vi-VN" dirty="0"/>
              <a:t>KC GPB </a:t>
            </a:r>
            <a:r>
              <a:rPr lang="vi-VN" dirty="0" err="1"/>
              <a:t>trước</a:t>
            </a:r>
            <a:r>
              <a:rPr lang="vi-VN" dirty="0"/>
              <a:t> </a:t>
            </a:r>
            <a:r>
              <a:rPr lang="vi-VN" dirty="0" err="1"/>
              <a:t>mổ</a:t>
            </a:r>
            <a:r>
              <a:rPr lang="vi-VN" dirty="0"/>
              <a:t> khi nghi </a:t>
            </a:r>
            <a:r>
              <a:rPr lang="vi-VN" dirty="0" err="1"/>
              <a:t>ngờ</a:t>
            </a:r>
            <a:r>
              <a:rPr lang="vi-VN" dirty="0"/>
              <a:t> </a:t>
            </a:r>
            <a:r>
              <a:rPr lang="vi-VN" dirty="0" err="1"/>
              <a:t>bệnh</a:t>
            </a:r>
            <a:r>
              <a:rPr lang="vi-VN" dirty="0"/>
              <a:t> </a:t>
            </a:r>
            <a:r>
              <a:rPr lang="vi-VN" dirty="0" err="1"/>
              <a:t>lành</a:t>
            </a:r>
            <a:r>
              <a:rPr lang="vi-VN" dirty="0"/>
              <a:t> </a:t>
            </a:r>
            <a:r>
              <a:rPr lang="vi-VN" dirty="0" err="1"/>
              <a:t>tính</a:t>
            </a:r>
            <a:r>
              <a:rPr lang="vi-VN" dirty="0"/>
              <a:t>: </a:t>
            </a:r>
          </a:p>
          <a:p>
            <a:pPr marL="0" indent="0">
              <a:buNone/>
            </a:pPr>
            <a:r>
              <a:rPr lang="vi-VN" dirty="0"/>
              <a:t>+ Lâm </a:t>
            </a:r>
            <a:r>
              <a:rPr lang="vi-VN" dirty="0" err="1"/>
              <a:t>sàng</a:t>
            </a:r>
            <a:r>
              <a:rPr lang="vi-VN" dirty="0"/>
              <a:t>: </a:t>
            </a:r>
            <a:r>
              <a:rPr lang="vi-VN" dirty="0" err="1"/>
              <a:t>trẻ</a:t>
            </a:r>
            <a:r>
              <a:rPr lang="vi-VN" dirty="0"/>
              <a:t> </a:t>
            </a:r>
            <a:r>
              <a:rPr lang="vi-VN" dirty="0" err="1"/>
              <a:t>tuổi</a:t>
            </a:r>
            <a:r>
              <a:rPr lang="vi-VN" dirty="0"/>
              <a:t>, </a:t>
            </a:r>
            <a:r>
              <a:rPr lang="vi-VN" dirty="0" err="1"/>
              <a:t>tiền</a:t>
            </a:r>
            <a:r>
              <a:rPr lang="vi-VN" dirty="0"/>
              <a:t> căn </a:t>
            </a:r>
            <a:r>
              <a:rPr lang="vi-VN" dirty="0" err="1"/>
              <a:t>dùng</a:t>
            </a:r>
            <a:r>
              <a:rPr lang="vi-VN" dirty="0"/>
              <a:t> </a:t>
            </a:r>
            <a:r>
              <a:rPr lang="vi-VN" dirty="0" err="1"/>
              <a:t>rượu</a:t>
            </a:r>
            <a:r>
              <a:rPr lang="vi-VN" dirty="0"/>
              <a:t>, </a:t>
            </a:r>
            <a:r>
              <a:rPr lang="vi-VN" dirty="0" err="1"/>
              <a:t>bệnh</a:t>
            </a:r>
            <a:r>
              <a:rPr lang="vi-VN" dirty="0"/>
              <a:t> </a:t>
            </a:r>
            <a:r>
              <a:rPr lang="vi-VN" dirty="0" err="1"/>
              <a:t>tự</a:t>
            </a:r>
            <a:r>
              <a:rPr lang="vi-VN" dirty="0"/>
              <a:t> </a:t>
            </a:r>
            <a:r>
              <a:rPr lang="vi-VN" dirty="0" err="1"/>
              <a:t>miễn</a:t>
            </a:r>
            <a:r>
              <a:rPr lang="vi-VN" dirty="0"/>
              <a:t> </a:t>
            </a:r>
            <a:r>
              <a:rPr lang="vi-VN" dirty="0" err="1"/>
              <a:t>khác</a:t>
            </a:r>
            <a:r>
              <a:rPr lang="vi-VN" dirty="0"/>
              <a:t> </a:t>
            </a:r>
          </a:p>
          <a:p>
            <a:pPr marL="0" indent="0">
              <a:buNone/>
            </a:pPr>
            <a:r>
              <a:rPr lang="vi-VN" dirty="0"/>
              <a:t>+ </a:t>
            </a:r>
            <a:r>
              <a:rPr lang="vi-VN" dirty="0" err="1"/>
              <a:t>Hình</a:t>
            </a:r>
            <a:r>
              <a:rPr lang="vi-VN" dirty="0"/>
              <a:t> </a:t>
            </a:r>
            <a:r>
              <a:rPr lang="vi-VN" dirty="0" err="1"/>
              <a:t>ảnh</a:t>
            </a:r>
            <a:r>
              <a:rPr lang="vi-VN" dirty="0"/>
              <a:t> </a:t>
            </a:r>
            <a:r>
              <a:rPr lang="vi-VN" dirty="0" err="1"/>
              <a:t>học</a:t>
            </a:r>
            <a:r>
              <a:rPr lang="vi-VN" dirty="0"/>
              <a:t>: </a:t>
            </a:r>
            <a:r>
              <a:rPr lang="vi-VN" dirty="0" err="1"/>
              <a:t>ống</a:t>
            </a:r>
            <a:r>
              <a:rPr lang="vi-VN" dirty="0"/>
              <a:t> </a:t>
            </a:r>
            <a:r>
              <a:rPr lang="vi-VN" dirty="0" err="1"/>
              <a:t>tụy</a:t>
            </a:r>
            <a:r>
              <a:rPr lang="vi-VN" dirty="0"/>
              <a:t>, </a:t>
            </a:r>
            <a:r>
              <a:rPr lang="vi-VN" dirty="0" err="1"/>
              <a:t>đường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</a:t>
            </a:r>
            <a:r>
              <a:rPr lang="vi-VN" dirty="0" err="1"/>
              <a:t>hẹp</a:t>
            </a:r>
            <a:r>
              <a:rPr lang="vi-VN" dirty="0"/>
              <a:t> </a:t>
            </a:r>
            <a:r>
              <a:rPr lang="vi-VN" dirty="0" err="1"/>
              <a:t>nhiều</a:t>
            </a:r>
            <a:r>
              <a:rPr lang="vi-VN" dirty="0"/>
              <a:t> </a:t>
            </a:r>
            <a:r>
              <a:rPr lang="vi-VN" dirty="0" err="1"/>
              <a:t>vị</a:t>
            </a:r>
            <a:r>
              <a:rPr lang="vi-VN" dirty="0"/>
              <a:t> </a:t>
            </a:r>
            <a:r>
              <a:rPr lang="vi-VN" dirty="0" err="1"/>
              <a:t>trí</a:t>
            </a:r>
            <a:endParaRPr lang="vi-VN" dirty="0"/>
          </a:p>
          <a:p>
            <a:pPr marL="0" indent="0">
              <a:buNone/>
            </a:pPr>
            <a:r>
              <a:rPr lang="vi-VN" dirty="0"/>
              <a:t>U </a:t>
            </a:r>
            <a:r>
              <a:rPr lang="vi-VN" dirty="0" err="1"/>
              <a:t>giáp</a:t>
            </a:r>
            <a:r>
              <a:rPr lang="vi-VN" dirty="0"/>
              <a:t> biên, u không </a:t>
            </a:r>
            <a:r>
              <a:rPr lang="vi-VN" dirty="0" err="1"/>
              <a:t>thể</a:t>
            </a:r>
            <a:r>
              <a:rPr lang="vi-VN" dirty="0"/>
              <a:t> </a:t>
            </a:r>
            <a:r>
              <a:rPr lang="vi-VN" dirty="0" err="1"/>
              <a:t>cắt</a:t>
            </a:r>
            <a:r>
              <a:rPr lang="vi-VN" dirty="0"/>
              <a:t>: </a:t>
            </a:r>
            <a:r>
              <a:rPr lang="vi-VN" dirty="0" err="1"/>
              <a:t>bắt</a:t>
            </a:r>
            <a:r>
              <a:rPr lang="vi-VN" dirty="0"/>
              <a:t> </a:t>
            </a:r>
            <a:r>
              <a:rPr lang="vi-VN" dirty="0" err="1"/>
              <a:t>buộc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GPB </a:t>
            </a:r>
            <a:r>
              <a:rPr lang="vi-VN" dirty="0" err="1"/>
              <a:t>để</a:t>
            </a:r>
            <a:r>
              <a:rPr lang="vi-VN" dirty="0"/>
              <a:t> </a:t>
            </a:r>
            <a:r>
              <a:rPr lang="vi-VN" dirty="0" err="1"/>
              <a:t>hướng</a:t>
            </a:r>
            <a:r>
              <a:rPr lang="vi-VN" dirty="0"/>
              <a:t> </a:t>
            </a:r>
            <a:r>
              <a:rPr lang="vi-VN" dirty="0" err="1"/>
              <a:t>dẫn</a:t>
            </a:r>
            <a:r>
              <a:rPr lang="vi-VN" dirty="0"/>
              <a:t> </a:t>
            </a:r>
            <a:r>
              <a:rPr lang="vi-VN" dirty="0" err="1"/>
              <a:t>điều</a:t>
            </a:r>
            <a:r>
              <a:rPr lang="vi-VN" dirty="0"/>
              <a:t> </a:t>
            </a:r>
            <a:r>
              <a:rPr lang="vi-VN" dirty="0" err="1"/>
              <a:t>trị</a:t>
            </a:r>
            <a:r>
              <a:rPr lang="vi-VN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70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A27ABDB-8549-4CFC-8E4E-B98508D1A959}"/>
              </a:ext>
            </a:extLst>
          </p:cNvPr>
          <p:cNvSpPr/>
          <p:nvPr/>
        </p:nvSpPr>
        <p:spPr>
          <a:xfrm rot="10800000">
            <a:off x="6046770" y="-55268"/>
            <a:ext cx="6145230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1" name="Google Shape;2160;p49">
            <a:extLst>
              <a:ext uri="{FF2B5EF4-FFF2-40B4-BE49-F238E27FC236}">
                <a16:creationId xmlns:a16="http://schemas.microsoft.com/office/drawing/2014/main" id="{E84861DD-27A9-3687-9840-F0E0A8BDBC10}"/>
              </a:ext>
            </a:extLst>
          </p:cNvPr>
          <p:cNvSpPr txBox="1">
            <a:spLocks/>
          </p:cNvSpPr>
          <p:nvPr/>
        </p:nvSpPr>
        <p:spPr>
          <a:xfrm>
            <a:off x="1052463" y="2791320"/>
            <a:ext cx="2336400" cy="125983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Times  New Roman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ts val="0"/>
              </a:spcBef>
            </a:pPr>
            <a:r>
              <a:rPr lang="vi-VN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g thư đầu tuỵ</a:t>
            </a:r>
          </a:p>
        </p:txBody>
      </p:sp>
      <p:sp>
        <p:nvSpPr>
          <p:cNvPr id="22" name="Google Shape;2162;p49">
            <a:extLst>
              <a:ext uri="{FF2B5EF4-FFF2-40B4-BE49-F238E27FC236}">
                <a16:creationId xmlns:a16="http://schemas.microsoft.com/office/drawing/2014/main" id="{47655815-FD53-83CF-A28E-AD5ED7FB8FE3}"/>
              </a:ext>
            </a:extLst>
          </p:cNvPr>
          <p:cNvSpPr txBox="1">
            <a:spLocks/>
          </p:cNvSpPr>
          <p:nvPr/>
        </p:nvSpPr>
        <p:spPr>
          <a:xfrm>
            <a:off x="4256948" y="2214715"/>
            <a:ext cx="3029495" cy="248838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Times  New Roman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ts val="0"/>
              </a:spcBef>
            </a:pPr>
            <a:r>
              <a:rPr lang="vi-VN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g thư bóng vater và ung thư tá tràng</a:t>
            </a:r>
          </a:p>
        </p:txBody>
      </p:sp>
      <p:sp>
        <p:nvSpPr>
          <p:cNvPr id="23" name="Google Shape;2164;p49">
            <a:extLst>
              <a:ext uri="{FF2B5EF4-FFF2-40B4-BE49-F238E27FC236}">
                <a16:creationId xmlns:a16="http://schemas.microsoft.com/office/drawing/2014/main" id="{3C20B8E2-30D2-3261-B8CE-59A1A14E54DF}"/>
              </a:ext>
            </a:extLst>
          </p:cNvPr>
          <p:cNvSpPr txBox="1">
            <a:spLocks/>
          </p:cNvSpPr>
          <p:nvPr/>
        </p:nvSpPr>
        <p:spPr>
          <a:xfrm>
            <a:off x="8172688" y="3347163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Times  New Roman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ts val="0"/>
              </a:spcBef>
            </a:pPr>
            <a:r>
              <a:rPr lang="vi-VN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g thư đoạn cuối OMC</a:t>
            </a:r>
          </a:p>
        </p:txBody>
      </p:sp>
      <p:sp>
        <p:nvSpPr>
          <p:cNvPr id="24" name="Google Shape;2165;p49">
            <a:extLst>
              <a:ext uri="{FF2B5EF4-FFF2-40B4-BE49-F238E27FC236}">
                <a16:creationId xmlns:a16="http://schemas.microsoft.com/office/drawing/2014/main" id="{6A2D7DBE-D958-102D-A72B-F32738BFE758}"/>
              </a:ext>
            </a:extLst>
          </p:cNvPr>
          <p:cNvSpPr/>
          <p:nvPr/>
        </p:nvSpPr>
        <p:spPr>
          <a:xfrm>
            <a:off x="1829463" y="1968739"/>
            <a:ext cx="782400" cy="782400"/>
          </a:xfrm>
          <a:prstGeom prst="ellipse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D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Google Shape;2168;p49">
            <a:extLst>
              <a:ext uri="{FF2B5EF4-FFF2-40B4-BE49-F238E27FC236}">
                <a16:creationId xmlns:a16="http://schemas.microsoft.com/office/drawing/2014/main" id="{791D3839-5A11-BF85-B154-4DE86255A609}"/>
              </a:ext>
            </a:extLst>
          </p:cNvPr>
          <p:cNvSpPr/>
          <p:nvPr/>
        </p:nvSpPr>
        <p:spPr>
          <a:xfrm>
            <a:off x="5386875" y="1968739"/>
            <a:ext cx="782400" cy="782400"/>
          </a:xfrm>
          <a:prstGeom prst="ellipse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D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Google Shape;2169;p49">
            <a:extLst>
              <a:ext uri="{FF2B5EF4-FFF2-40B4-BE49-F238E27FC236}">
                <a16:creationId xmlns:a16="http://schemas.microsoft.com/office/drawing/2014/main" id="{73523794-4415-023A-5092-82BB31203868}"/>
              </a:ext>
            </a:extLst>
          </p:cNvPr>
          <p:cNvSpPr/>
          <p:nvPr/>
        </p:nvSpPr>
        <p:spPr>
          <a:xfrm>
            <a:off x="8949688" y="1968739"/>
            <a:ext cx="782400" cy="782400"/>
          </a:xfrm>
          <a:prstGeom prst="ellipse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D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81E7DBC4-6E9E-378C-CDBF-905A0DFBEA08}"/>
              </a:ext>
            </a:extLst>
          </p:cNvPr>
          <p:cNvSpPr txBox="1"/>
          <p:nvPr/>
        </p:nvSpPr>
        <p:spPr>
          <a:xfrm>
            <a:off x="1951136" y="2126665"/>
            <a:ext cx="5854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VN" sz="2800" b="1">
                <a:solidFill>
                  <a:schemeClr val="tx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01</a:t>
            </a:r>
          </a:p>
        </p:txBody>
      </p:sp>
      <p:sp>
        <p:nvSpPr>
          <p:cNvPr id="28" name="TextBox 18">
            <a:extLst>
              <a:ext uri="{FF2B5EF4-FFF2-40B4-BE49-F238E27FC236}">
                <a16:creationId xmlns:a16="http://schemas.microsoft.com/office/drawing/2014/main" id="{DC05FE29-FDD8-77D9-F61D-B492FE5FB87E}"/>
              </a:ext>
            </a:extLst>
          </p:cNvPr>
          <p:cNvSpPr txBox="1"/>
          <p:nvPr/>
        </p:nvSpPr>
        <p:spPr>
          <a:xfrm>
            <a:off x="5496619" y="2138152"/>
            <a:ext cx="5854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VN" sz="2800" b="1">
                <a:solidFill>
                  <a:schemeClr val="tx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02</a:t>
            </a: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7DA5C00E-6260-DB7A-843F-208D9186C42C}"/>
              </a:ext>
            </a:extLst>
          </p:cNvPr>
          <p:cNvSpPr txBox="1"/>
          <p:nvPr/>
        </p:nvSpPr>
        <p:spPr>
          <a:xfrm>
            <a:off x="9065812" y="2138152"/>
            <a:ext cx="5854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VN" sz="2800" b="1">
                <a:solidFill>
                  <a:schemeClr val="tx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03</a:t>
            </a: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0CF12A8C-D2FB-28BF-DF85-8D625049B625}"/>
              </a:ext>
            </a:extLst>
          </p:cNvPr>
          <p:cNvSpPr/>
          <p:nvPr/>
        </p:nvSpPr>
        <p:spPr>
          <a:xfrm>
            <a:off x="671071" y="4703096"/>
            <a:ext cx="3029494" cy="1803949"/>
          </a:xfrm>
          <a:prstGeom prst="rect">
            <a:avLst/>
          </a:prstGeom>
          <a:solidFill>
            <a:schemeClr val="bg2">
              <a:alpha val="29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ếu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ố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yền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ội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ứng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g thư di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yền</a:t>
            </a:r>
            <a:endParaRPr lang="vi-VN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ếu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ố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ôi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ường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út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uốc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á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éo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ì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ái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áo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ường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êm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ụy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ạn</a:t>
            </a:r>
            <a:r>
              <a:rPr lang="vi-VN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ID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C5F92563-DE12-AA8B-77A7-85AD35EE87BD}"/>
              </a:ext>
            </a:extLst>
          </p:cNvPr>
          <p:cNvSpPr/>
          <p:nvPr/>
        </p:nvSpPr>
        <p:spPr>
          <a:xfrm>
            <a:off x="4273930" y="4703096"/>
            <a:ext cx="3216148" cy="1803949"/>
          </a:xfrm>
          <a:prstGeom prst="rect">
            <a:avLst/>
          </a:prstGeom>
          <a:solidFill>
            <a:schemeClr val="bg2">
              <a:alpha val="29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Hộ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hứ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đa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polyp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í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uyền</a:t>
            </a:r>
            <a:endParaRPr lang="en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25">
            <a:extLst>
              <a:ext uri="{FF2B5EF4-FFF2-40B4-BE49-F238E27FC236}">
                <a16:creationId xmlns:a16="http://schemas.microsoft.com/office/drawing/2014/main" id="{8F516113-B07A-6782-1445-ACCEA4205725}"/>
              </a:ext>
            </a:extLst>
          </p:cNvPr>
          <p:cNvSpPr/>
          <p:nvPr/>
        </p:nvSpPr>
        <p:spPr>
          <a:xfrm>
            <a:off x="8063442" y="4703096"/>
            <a:ext cx="3035799" cy="1803949"/>
          </a:xfrm>
          <a:prstGeom prst="rect">
            <a:avLst/>
          </a:prstGeom>
          <a:solidFill>
            <a:schemeClr val="bg2">
              <a:alpha val="29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Viêm xơ hóa đường mật.</a:t>
            </a:r>
          </a:p>
          <a:p>
            <a:pPr marL="285750" indent="-285750">
              <a:buFontTx/>
              <a:buChar char="-"/>
            </a:pP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Nang ống mật chủ</a:t>
            </a:r>
          </a:p>
          <a:p>
            <a:pPr marL="285750" indent="-285750">
              <a:buFontTx/>
              <a:buChar char="-"/>
            </a:pP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Sỏ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mậ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ộ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ứ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ruộ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íc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ích</a:t>
            </a:r>
            <a:endParaRPr lang="vi-V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Tx/>
              <a:buChar char="-"/>
            </a:pPr>
            <a:endParaRPr lang="en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Hộp Văn bản 35">
            <a:extLst>
              <a:ext uri="{FF2B5EF4-FFF2-40B4-BE49-F238E27FC236}">
                <a16:creationId xmlns:a16="http://schemas.microsoft.com/office/drawing/2014/main" id="{4B4681FA-7E80-75E5-CF58-8B594121EB56}"/>
              </a:ext>
            </a:extLst>
          </p:cNvPr>
          <p:cNvSpPr txBox="1"/>
          <p:nvPr/>
        </p:nvSpPr>
        <p:spPr>
          <a:xfrm>
            <a:off x="4483451" y="892687"/>
            <a:ext cx="26425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sz="2000" b="1">
                <a:latin typeface="Arial" panose="020B0604020202020204" pitchFamily="34" charset="0"/>
                <a:cs typeface="Arial" panose="020B0604020202020204" pitchFamily="34" charset="0"/>
              </a:rPr>
              <a:t>YẾU TỐ NGUY CƠ</a:t>
            </a:r>
          </a:p>
        </p:txBody>
      </p:sp>
      <p:sp>
        <p:nvSpPr>
          <p:cNvPr id="39" name="TextBox 13">
            <a:extLst>
              <a:ext uri="{FF2B5EF4-FFF2-40B4-BE49-F238E27FC236}">
                <a16:creationId xmlns:a16="http://schemas.microsoft.com/office/drawing/2014/main" id="{7DD460F3-6B6F-1DEE-FB09-5FD27F88DBD4}"/>
              </a:ext>
            </a:extLst>
          </p:cNvPr>
          <p:cNvSpPr txBox="1"/>
          <p:nvPr/>
        </p:nvSpPr>
        <p:spPr>
          <a:xfrm>
            <a:off x="241855" y="672832"/>
            <a:ext cx="2887976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I.TỔNG QUAN</a:t>
            </a:r>
          </a:p>
        </p:txBody>
      </p:sp>
    </p:spTree>
    <p:extLst>
      <p:ext uri="{BB962C8B-B14F-4D97-AF65-F5344CB8AC3E}">
        <p14:creationId xmlns:p14="http://schemas.microsoft.com/office/powerpoint/2010/main" val="23155443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824E4A0F-BBDA-439E-1831-B0426DBFF9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6438E21E-2316-D7BD-DD7A-50D27D941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/>
              <a:t>1.LÂM SÀNG : TRIỆU CHỨNG CƠ NĂNG</a:t>
            </a:r>
          </a:p>
          <a:p>
            <a:pPr marL="0" indent="0">
              <a:buNone/>
            </a:pPr>
            <a:r>
              <a:rPr lang="vi-VN" sz="2000" dirty="0"/>
              <a:t>Không </a:t>
            </a:r>
            <a:r>
              <a:rPr lang="vi-VN" sz="2000" dirty="0" err="1"/>
              <a:t>có</a:t>
            </a:r>
            <a:r>
              <a:rPr lang="vi-VN" sz="2000" dirty="0"/>
              <a:t> </a:t>
            </a:r>
            <a:r>
              <a:rPr lang="vi-VN" sz="2000" dirty="0" err="1"/>
              <a:t>triệu</a:t>
            </a:r>
            <a:r>
              <a:rPr lang="vi-VN" sz="2000" dirty="0"/>
              <a:t> </a:t>
            </a:r>
            <a:r>
              <a:rPr lang="vi-VN" sz="2000" dirty="0" err="1"/>
              <a:t>chứng</a:t>
            </a:r>
            <a:r>
              <a:rPr lang="vi-VN" sz="2000" dirty="0"/>
              <a:t> </a:t>
            </a:r>
            <a:r>
              <a:rPr lang="vi-VN" sz="2000" dirty="0" err="1"/>
              <a:t>đặc</a:t>
            </a:r>
            <a:r>
              <a:rPr lang="vi-VN" sz="2000" dirty="0"/>
              <a:t> </a:t>
            </a:r>
            <a:r>
              <a:rPr lang="vi-VN" sz="2000" dirty="0" err="1"/>
              <a:t>hiệu</a:t>
            </a:r>
            <a:endParaRPr lang="vi-VN" sz="2000" dirty="0"/>
          </a:p>
          <a:p>
            <a:pPr marL="0" indent="0">
              <a:buNone/>
            </a:pPr>
            <a:r>
              <a:rPr lang="vi-VN" sz="2000" dirty="0" err="1"/>
              <a:t>Tùy</a:t>
            </a:r>
            <a:r>
              <a:rPr lang="vi-VN" sz="2000" dirty="0"/>
              <a:t> theo </a:t>
            </a:r>
            <a:r>
              <a:rPr lang="vi-VN" sz="2000" dirty="0" err="1"/>
              <a:t>vị</a:t>
            </a:r>
            <a:r>
              <a:rPr lang="vi-VN" sz="2000" dirty="0"/>
              <a:t> </a:t>
            </a:r>
            <a:r>
              <a:rPr lang="vi-VN" sz="2000" dirty="0" err="1"/>
              <a:t>trí</a:t>
            </a:r>
            <a:r>
              <a:rPr lang="vi-VN" sz="2000" dirty="0"/>
              <a:t> </a:t>
            </a:r>
            <a:r>
              <a:rPr lang="vi-VN" sz="2000" dirty="0" err="1"/>
              <a:t>tổn</a:t>
            </a:r>
            <a:r>
              <a:rPr lang="vi-VN" sz="2000" dirty="0"/>
              <a:t> thương =&gt; </a:t>
            </a:r>
            <a:r>
              <a:rPr lang="vi-VN" sz="2000" dirty="0" err="1"/>
              <a:t>triệu</a:t>
            </a:r>
            <a:r>
              <a:rPr lang="vi-VN" sz="2000" dirty="0"/>
              <a:t> </a:t>
            </a:r>
            <a:r>
              <a:rPr lang="vi-VN" sz="2000" dirty="0" err="1"/>
              <a:t>chứng</a:t>
            </a:r>
            <a:r>
              <a:rPr lang="vi-VN" sz="2000" dirty="0"/>
              <a:t> </a:t>
            </a:r>
            <a:r>
              <a:rPr lang="vi-VN" sz="2000" dirty="0" err="1"/>
              <a:t>của</a:t>
            </a:r>
            <a:r>
              <a:rPr lang="vi-VN" sz="2000" dirty="0"/>
              <a:t> xâm </a:t>
            </a:r>
            <a:r>
              <a:rPr lang="vi-VN" sz="2000" dirty="0" err="1"/>
              <a:t>lấn</a:t>
            </a:r>
            <a:r>
              <a:rPr lang="vi-VN" sz="2000" dirty="0"/>
              <a:t>, </a:t>
            </a:r>
            <a:r>
              <a:rPr lang="vi-VN" sz="2000" dirty="0" err="1"/>
              <a:t>chèn</a:t>
            </a:r>
            <a:r>
              <a:rPr lang="vi-VN" sz="2000" dirty="0"/>
              <a:t> </a:t>
            </a:r>
            <a:r>
              <a:rPr lang="vi-VN" sz="2000" dirty="0" err="1"/>
              <a:t>ép</a:t>
            </a:r>
            <a:r>
              <a:rPr lang="vi-VN" sz="2000" dirty="0"/>
              <a:t> </a:t>
            </a:r>
            <a:r>
              <a:rPr lang="vi-VN" sz="2000" dirty="0" err="1"/>
              <a:t>cấu</a:t>
            </a:r>
            <a:r>
              <a:rPr lang="vi-VN" sz="2000" dirty="0"/>
              <a:t> </a:t>
            </a:r>
            <a:r>
              <a:rPr lang="vi-VN" sz="2000" dirty="0" err="1"/>
              <a:t>trúc</a:t>
            </a:r>
            <a:r>
              <a:rPr lang="vi-VN" sz="2000" dirty="0"/>
              <a:t> lân </a:t>
            </a:r>
            <a:r>
              <a:rPr lang="vi-VN" sz="2000" dirty="0" err="1"/>
              <a:t>cận</a:t>
            </a:r>
            <a:endParaRPr lang="vi-VN" sz="2000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CB187B4A-5C52-6395-65CD-DF0AB7E81C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5782" y="3118898"/>
            <a:ext cx="6747163" cy="3527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94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D3A72D6-6C4A-FCC7-0012-7D459C740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D3BE3A0-1958-B02F-4E5E-798B63689E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vi-VN" dirty="0">
                <a:latin typeface="+mj-lt"/>
              </a:rPr>
              <a:t>1.LÂM SÀNG : TRIỆU CHỨNG </a:t>
            </a:r>
            <a:r>
              <a:rPr lang="en-US" dirty="0">
                <a:latin typeface="+mj-lt"/>
              </a:rPr>
              <a:t>THỰC THỂ</a:t>
            </a:r>
          </a:p>
          <a:p>
            <a:pPr marL="0" indent="0">
              <a:buNone/>
            </a:pPr>
            <a:r>
              <a:rPr lang="vi-VN" dirty="0"/>
              <a:t>Da niêm </a:t>
            </a:r>
            <a:r>
              <a:rPr lang="vi-VN" dirty="0" err="1"/>
              <a:t>vàng</a:t>
            </a:r>
            <a:r>
              <a:rPr lang="vi-VN" dirty="0"/>
              <a:t>, </a:t>
            </a:r>
            <a:r>
              <a:rPr lang="vi-VN" dirty="0" err="1"/>
              <a:t>vết</a:t>
            </a:r>
            <a:r>
              <a:rPr lang="vi-VN" dirty="0"/>
              <a:t> </a:t>
            </a:r>
            <a:r>
              <a:rPr lang="vi-VN" dirty="0" err="1"/>
              <a:t>cào</a:t>
            </a:r>
            <a:r>
              <a:rPr lang="vi-VN" dirty="0"/>
              <a:t> </a:t>
            </a:r>
            <a:r>
              <a:rPr lang="vi-VN" dirty="0" err="1"/>
              <a:t>gãi</a:t>
            </a:r>
            <a:r>
              <a:rPr lang="en-US" dirty="0"/>
              <a:t> ở da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to</a:t>
            </a:r>
          </a:p>
          <a:p>
            <a:pPr marL="0" indent="0">
              <a:buNone/>
            </a:pPr>
            <a:r>
              <a:rPr lang="vi-VN" dirty="0" err="1"/>
              <a:t>Sờ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nốt</a:t>
            </a:r>
            <a:r>
              <a:rPr lang="vi-VN" dirty="0"/>
              <a:t> ở ga</a:t>
            </a:r>
            <a:r>
              <a:rPr lang="en-US" dirty="0"/>
              <a:t>n</a:t>
            </a:r>
            <a:endParaRPr lang="vi-VN" dirty="0"/>
          </a:p>
          <a:p>
            <a:pPr marL="0" indent="0">
              <a:buNone/>
            </a:pPr>
            <a:r>
              <a:rPr lang="vi-VN" dirty="0" err="1"/>
              <a:t>Hạch</a:t>
            </a:r>
            <a:r>
              <a:rPr lang="vi-VN" dirty="0"/>
              <a:t> </a:t>
            </a:r>
            <a:r>
              <a:rPr lang="vi-VN" dirty="0" err="1"/>
              <a:t>thượng</a:t>
            </a:r>
            <a:r>
              <a:rPr lang="vi-VN" dirty="0"/>
              <a:t> </a:t>
            </a:r>
            <a:r>
              <a:rPr lang="vi-VN" dirty="0" err="1"/>
              <a:t>đòn</a:t>
            </a:r>
            <a:r>
              <a:rPr lang="vi-VN" dirty="0"/>
              <a:t> (</a:t>
            </a:r>
            <a:r>
              <a:rPr lang="vi-VN" dirty="0" err="1"/>
              <a:t>Virchow</a:t>
            </a:r>
            <a:r>
              <a:rPr lang="vi-VN" dirty="0"/>
              <a:t>), </a:t>
            </a:r>
            <a:r>
              <a:rPr lang="vi-VN" dirty="0" err="1"/>
              <a:t>nốt</a:t>
            </a:r>
            <a:r>
              <a:rPr lang="vi-VN" dirty="0"/>
              <a:t> di căn </a:t>
            </a:r>
            <a:r>
              <a:rPr lang="vi-VN" dirty="0" err="1"/>
              <a:t>vùng</a:t>
            </a:r>
            <a:r>
              <a:rPr lang="vi-VN" dirty="0"/>
              <a:t> quanh </a:t>
            </a:r>
            <a:r>
              <a:rPr lang="vi-VN" dirty="0" err="1"/>
              <a:t>rốn</a:t>
            </a:r>
            <a:r>
              <a:rPr lang="vi-VN" dirty="0"/>
              <a:t> (</a:t>
            </a:r>
            <a:r>
              <a:rPr lang="vi-VN" dirty="0" err="1"/>
              <a:t>sister</a:t>
            </a:r>
            <a:r>
              <a:rPr lang="vi-VN" dirty="0"/>
              <a:t> </a:t>
            </a:r>
            <a:r>
              <a:rPr lang="vi-VN" dirty="0" err="1"/>
              <a:t>Mary</a:t>
            </a:r>
            <a:r>
              <a:rPr lang="vi-VN" dirty="0"/>
              <a:t> </a:t>
            </a:r>
            <a:r>
              <a:rPr lang="vi-VN" dirty="0" err="1"/>
              <a:t>Joseph</a:t>
            </a:r>
            <a:r>
              <a:rPr lang="vi-VN" dirty="0"/>
              <a:t>)</a:t>
            </a:r>
            <a:endParaRPr lang="en-US" dirty="0"/>
          </a:p>
          <a:p>
            <a:pPr marL="0" indent="0">
              <a:buNone/>
            </a:pPr>
            <a:r>
              <a:rPr lang="vi-VN" dirty="0"/>
              <a:t>Di căn </a:t>
            </a:r>
            <a:r>
              <a:rPr lang="vi-VN" dirty="0" err="1"/>
              <a:t>tiểu</a:t>
            </a:r>
            <a:r>
              <a:rPr lang="vi-VN" dirty="0"/>
              <a:t> khung khi thăm </a:t>
            </a:r>
            <a:r>
              <a:rPr lang="vi-VN" dirty="0" err="1"/>
              <a:t>khám</a:t>
            </a:r>
            <a:r>
              <a:rPr lang="vi-VN" dirty="0"/>
              <a:t> </a:t>
            </a:r>
            <a:r>
              <a:rPr lang="vi-VN" dirty="0" err="1"/>
              <a:t>trực</a:t>
            </a:r>
            <a:r>
              <a:rPr lang="vi-VN" dirty="0"/>
              <a:t> </a:t>
            </a:r>
            <a:r>
              <a:rPr lang="vi-VN" dirty="0" err="1"/>
              <a:t>tràng</a:t>
            </a:r>
            <a:r>
              <a:rPr lang="vi-VN" dirty="0"/>
              <a:t> (</a:t>
            </a:r>
            <a:r>
              <a:rPr lang="vi-VN" dirty="0" err="1"/>
              <a:t>mảng</a:t>
            </a:r>
            <a:r>
              <a:rPr lang="vi-VN" dirty="0"/>
              <a:t> </a:t>
            </a:r>
            <a:r>
              <a:rPr lang="vi-VN" dirty="0" err="1"/>
              <a:t>Blumer</a:t>
            </a:r>
            <a:r>
              <a:rPr lang="vi-VN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779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9D8E260-8360-3BA2-EE71-14611BA6F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D859ECC-4878-3872-19D5-77204B8A00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1.LÂM SÀNG : TRIỆU CHỨNG THỰC THỂ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Hình ảnh 4" descr="Ảnh có chứa văn bản, trong nhà, tìm kiếm, đóng&#10;&#10;Mô tả được tạo tự động">
            <a:extLst>
              <a:ext uri="{FF2B5EF4-FFF2-40B4-BE49-F238E27FC236}">
                <a16:creationId xmlns:a16="http://schemas.microsoft.com/office/drawing/2014/main" id="{5F79FF96-942F-632A-8ABE-D58B6D083D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5714" y="2453749"/>
            <a:ext cx="7440795" cy="3723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42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BBCF248-A17E-2008-B5BD-4254E2684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21D493EB-ED0C-238E-E2BF-FCC5EE62B3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1.LÂM SÀNG : </a:t>
            </a:r>
          </a:p>
          <a:p>
            <a:pPr marL="0" indent="0">
              <a:buNone/>
            </a:pPr>
            <a:r>
              <a:rPr lang="vi-VN" dirty="0" err="1"/>
              <a:t>Hội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 </a:t>
            </a:r>
            <a:r>
              <a:rPr lang="vi-VN" dirty="0" err="1"/>
              <a:t>vàng</a:t>
            </a:r>
            <a:r>
              <a:rPr lang="vi-VN" dirty="0"/>
              <a:t> da </a:t>
            </a:r>
            <a:r>
              <a:rPr lang="vi-VN" dirty="0" err="1"/>
              <a:t>tắc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: </a:t>
            </a:r>
            <a:r>
              <a:rPr lang="vi-VN" dirty="0" err="1"/>
              <a:t>kết</a:t>
            </a:r>
            <a:r>
              <a:rPr lang="vi-VN" dirty="0"/>
              <a:t> </a:t>
            </a:r>
            <a:r>
              <a:rPr lang="vi-VN" dirty="0" err="1"/>
              <a:t>mạc</a:t>
            </a:r>
            <a:r>
              <a:rPr lang="vi-VN" dirty="0"/>
              <a:t> </a:t>
            </a:r>
            <a:r>
              <a:rPr lang="vi-VN" dirty="0" err="1"/>
              <a:t>mắt</a:t>
            </a:r>
            <a:r>
              <a:rPr lang="vi-VN" dirty="0"/>
              <a:t> </a:t>
            </a:r>
            <a:r>
              <a:rPr lang="vi-VN" dirty="0" err="1"/>
              <a:t>vàng</a:t>
            </a:r>
            <a:r>
              <a:rPr lang="vi-VN" dirty="0"/>
              <a:t>, sang thương da do </a:t>
            </a:r>
            <a:r>
              <a:rPr lang="vi-VN" dirty="0" err="1"/>
              <a:t>cào</a:t>
            </a:r>
            <a:r>
              <a:rPr lang="vi-VN" dirty="0"/>
              <a:t> </a:t>
            </a:r>
            <a:r>
              <a:rPr lang="vi-VN" dirty="0" err="1"/>
              <a:t>gãi</a:t>
            </a:r>
            <a:r>
              <a:rPr lang="vi-VN" dirty="0"/>
              <a:t>,..</a:t>
            </a:r>
          </a:p>
          <a:p>
            <a:pPr marL="0" indent="0">
              <a:buNone/>
            </a:pPr>
            <a:r>
              <a:rPr lang="vi-VN" dirty="0" err="1"/>
              <a:t>Túi</a:t>
            </a:r>
            <a:r>
              <a:rPr lang="vi-VN" dirty="0"/>
              <a:t> </a:t>
            </a:r>
            <a:r>
              <a:rPr lang="vi-VN" dirty="0" err="1"/>
              <a:t>mật</a:t>
            </a:r>
            <a:r>
              <a:rPr lang="vi-VN" dirty="0"/>
              <a:t> to </a:t>
            </a:r>
            <a:r>
              <a:rPr lang="vi-VN" dirty="0" err="1"/>
              <a:t>sờ</a:t>
            </a:r>
            <a:r>
              <a:rPr lang="vi-VN" dirty="0"/>
              <a:t> </a:t>
            </a:r>
            <a:r>
              <a:rPr lang="vi-VN" dirty="0" err="1"/>
              <a:t>thấy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không đau: </a:t>
            </a:r>
            <a:r>
              <a:rPr lang="vi-VN" dirty="0" err="1"/>
              <a:t>Định</a:t>
            </a:r>
            <a:r>
              <a:rPr lang="vi-VN" dirty="0"/>
              <a:t> </a:t>
            </a:r>
            <a:r>
              <a:rPr lang="vi-VN" dirty="0" err="1"/>
              <a:t>luật</a:t>
            </a:r>
            <a:r>
              <a:rPr lang="vi-VN" dirty="0"/>
              <a:t> </a:t>
            </a:r>
            <a:r>
              <a:rPr lang="vi-VN" dirty="0" err="1"/>
              <a:t>Courvoisier</a:t>
            </a:r>
            <a:r>
              <a:rPr lang="vi-VN" dirty="0"/>
              <a:t>. </a:t>
            </a:r>
          </a:p>
          <a:p>
            <a:pPr marL="0" indent="0">
              <a:buNone/>
            </a:pPr>
            <a:r>
              <a:rPr lang="vi-VN" dirty="0" err="1"/>
              <a:t>Triệu</a:t>
            </a:r>
            <a:r>
              <a:rPr lang="vi-VN" dirty="0"/>
              <a:t> </a:t>
            </a:r>
            <a:r>
              <a:rPr lang="vi-VN" dirty="0" err="1"/>
              <a:t>chứng</a:t>
            </a:r>
            <a:r>
              <a:rPr lang="vi-VN" dirty="0"/>
              <a:t> </a:t>
            </a:r>
            <a:r>
              <a:rPr lang="vi-VN" dirty="0" err="1"/>
              <a:t>của</a:t>
            </a:r>
            <a:r>
              <a:rPr lang="vi-VN" dirty="0"/>
              <a:t> di căn: </a:t>
            </a:r>
          </a:p>
          <a:p>
            <a:pPr marL="0" indent="0">
              <a:buNone/>
            </a:pPr>
            <a:r>
              <a:rPr lang="en-US" dirty="0"/>
              <a:t>- </a:t>
            </a:r>
            <a:r>
              <a:rPr lang="vi-VN" dirty="0" err="1"/>
              <a:t>Sờ</a:t>
            </a:r>
            <a:r>
              <a:rPr lang="vi-VN" dirty="0"/>
              <a:t> </a:t>
            </a:r>
            <a:r>
              <a:rPr lang="vi-VN" dirty="0" err="1"/>
              <a:t>được</a:t>
            </a:r>
            <a:r>
              <a:rPr lang="vi-VN" dirty="0"/>
              <a:t> </a:t>
            </a:r>
            <a:r>
              <a:rPr lang="vi-VN" dirty="0" err="1"/>
              <a:t>nốt</a:t>
            </a:r>
            <a:r>
              <a:rPr lang="vi-VN" dirty="0"/>
              <a:t> ở gan, gan to</a:t>
            </a:r>
          </a:p>
          <a:p>
            <a:pPr marL="0" indent="0">
              <a:buNone/>
            </a:pPr>
            <a:r>
              <a:rPr lang="en-US" dirty="0"/>
              <a:t>- </a:t>
            </a:r>
            <a:r>
              <a:rPr lang="vi-VN" dirty="0" err="1"/>
              <a:t>Hạch</a:t>
            </a:r>
            <a:r>
              <a:rPr lang="vi-VN" dirty="0"/>
              <a:t>: </a:t>
            </a:r>
            <a:r>
              <a:rPr lang="vi-VN" dirty="0" err="1"/>
              <a:t>Virchow</a:t>
            </a:r>
            <a:r>
              <a:rPr lang="vi-VN" dirty="0"/>
              <a:t>, </a:t>
            </a:r>
            <a:r>
              <a:rPr lang="vi-VN" dirty="0" err="1"/>
              <a:t>nốt</a:t>
            </a:r>
            <a:r>
              <a:rPr lang="vi-VN" dirty="0"/>
              <a:t> di căn ở </a:t>
            </a:r>
            <a:r>
              <a:rPr lang="vi-VN" dirty="0" err="1"/>
              <a:t>rốn</a:t>
            </a:r>
            <a:r>
              <a:rPr lang="vi-VN" dirty="0"/>
              <a:t> </a:t>
            </a:r>
            <a:r>
              <a:rPr lang="vi-VN" dirty="0" err="1"/>
              <a:t>Sister</a:t>
            </a:r>
            <a:r>
              <a:rPr lang="vi-VN" dirty="0"/>
              <a:t> </a:t>
            </a:r>
            <a:r>
              <a:rPr lang="vi-VN" dirty="0" err="1"/>
              <a:t>Mary</a:t>
            </a:r>
            <a:r>
              <a:rPr lang="vi-VN" dirty="0"/>
              <a:t> </a:t>
            </a:r>
            <a:r>
              <a:rPr lang="vi-VN" dirty="0" err="1"/>
              <a:t>Joseph</a:t>
            </a:r>
            <a:r>
              <a:rPr lang="vi-VN" dirty="0"/>
              <a:t>, </a:t>
            </a:r>
            <a:r>
              <a:rPr lang="vi-VN" dirty="0" err="1"/>
              <a:t>Blummer’s</a:t>
            </a:r>
            <a:r>
              <a:rPr lang="vi-VN" dirty="0"/>
              <a:t> </a:t>
            </a:r>
            <a:r>
              <a:rPr lang="vi-VN" dirty="0" err="1"/>
              <a:t>Shelf</a:t>
            </a:r>
            <a:endParaRPr lang="vi-VN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096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7F3D0FD2-3A02-5CAC-F1EA-F6181AD69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.CHẨN ĐOÁN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62E92B9C-E9CB-4755-B9CA-E34F74B815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LÂM SÀNG : </a:t>
            </a: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ầ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ụy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đau mơ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ồ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tăng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đêm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ối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ạ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ê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óa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ầ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ên, sa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 khi 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è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ép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ờ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ậ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C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ắc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ờ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oá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ạ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y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m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ờ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ấy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.</a:t>
            </a: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T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ó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ater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ớm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ợ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i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á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ợ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a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iề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ơn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ợ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ước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èm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XHTH 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iệ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á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ạn</a:t>
            </a: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T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oạ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uối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MC: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ầ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ên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ắ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không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ảm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c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đa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ổ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ương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ỏ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Không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iệ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áu</a:t>
            </a:r>
            <a:endParaRPr lang="vi-V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T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à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gây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ườ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khi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N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ể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XHTH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áu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ạn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C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ắc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ờng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oát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ạ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y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m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ờ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ấy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. </a:t>
            </a:r>
          </a:p>
          <a:p>
            <a:pPr marL="0" indent="0">
              <a:buNone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152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Ww.4FE5N0.lqUzvQv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k8YQCQrgOjvDzQSPsj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ủ đề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hủ đề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4</TotalTime>
  <Words>3494</Words>
  <Application>Microsoft Office PowerPoint</Application>
  <PresentationFormat>Màn hình rộng</PresentationFormat>
  <Paragraphs>323</Paragraphs>
  <Slides>32</Slides>
  <Notes>15</Notes>
  <HiddenSlides>0</HiddenSlides>
  <MMClips>0</MMClips>
  <ScaleCrop>false</ScaleCrop>
  <HeadingPairs>
    <vt:vector size="8" baseType="variant">
      <vt:variant>
        <vt:lpstr>Phông được Dùng</vt:lpstr>
      </vt:variant>
      <vt:variant>
        <vt:i4>7</vt:i4>
      </vt:variant>
      <vt:variant>
        <vt:lpstr>Chủ đề</vt:lpstr>
      </vt:variant>
      <vt:variant>
        <vt:i4>3</vt:i4>
      </vt:variant>
      <vt:variant>
        <vt:lpstr>Máy chủ nhúng OLE</vt:lpstr>
      </vt:variant>
      <vt:variant>
        <vt:i4>1</vt:i4>
      </vt:variant>
      <vt:variant>
        <vt:lpstr>Tiêu đề Bản chiếu</vt:lpstr>
      </vt:variant>
      <vt:variant>
        <vt:i4>32</vt:i4>
      </vt:variant>
    </vt:vector>
  </HeadingPairs>
  <TitlesOfParts>
    <vt:vector size="43" baseType="lpstr">
      <vt:lpstr>Arial</vt:lpstr>
      <vt:lpstr>Calibri</vt:lpstr>
      <vt:lpstr>Calibri Light</vt:lpstr>
      <vt:lpstr>Segoe UI</vt:lpstr>
      <vt:lpstr>Symbol</vt:lpstr>
      <vt:lpstr>Times New Roman</vt:lpstr>
      <vt:lpstr>Wingdings 3</vt:lpstr>
      <vt:lpstr>Chủ đề Office</vt:lpstr>
      <vt:lpstr>1_Office Theme</vt:lpstr>
      <vt:lpstr>Office Theme</vt:lpstr>
      <vt:lpstr>think-cell Slide</vt:lpstr>
      <vt:lpstr>Bản trình bày PowerPoint</vt:lpstr>
      <vt:lpstr>I.TỔNG QUAN</vt:lpstr>
      <vt:lpstr>I.TỔNG QUAN</vt:lpstr>
      <vt:lpstr>Bản trình bày PowerPoint</vt:lpstr>
      <vt:lpstr>II.CHẨN ĐOÁN</vt:lpstr>
      <vt:lpstr>II.CHẨN ĐOÁN</vt:lpstr>
      <vt:lpstr>II.CHẨN ĐOÁN</vt:lpstr>
      <vt:lpstr>II.CHẨN ĐOÁN</vt:lpstr>
      <vt:lpstr>II.CHẨN ĐOÁN</vt:lpstr>
      <vt:lpstr>Bản trình bày PowerPoint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  <vt:lpstr>II.CHẨN ĐOÁ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̉n trình bày PowerPoint</dc:title>
  <dc:creator>NhanTran</dc:creator>
  <cp:lastModifiedBy>NhanTran</cp:lastModifiedBy>
  <cp:revision>29</cp:revision>
  <dcterms:created xsi:type="dcterms:W3CDTF">2022-11-14T09:33:29Z</dcterms:created>
  <dcterms:modified xsi:type="dcterms:W3CDTF">2022-11-14T15:37:58Z</dcterms:modified>
</cp:coreProperties>
</file>